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notesSlides/notesSlide8.xml" ContentType="application/vnd.openxmlformats-officedocument.presentationml.notesSlide+xml"/>
  <Override PartName="/ppt/ink/ink2.xml" ContentType="application/inkml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ink/ink3.xml" ContentType="application/inkml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ink/ink4.xml" ContentType="application/inkml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ink/ink5.xml" ContentType="application/inkml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3"/>
  </p:notesMasterIdLst>
  <p:sldIdLst>
    <p:sldId id="256" r:id="rId2"/>
    <p:sldId id="2147377372" r:id="rId3"/>
    <p:sldId id="2147377376" r:id="rId4"/>
    <p:sldId id="2147377373" r:id="rId5"/>
    <p:sldId id="2147377390" r:id="rId6"/>
    <p:sldId id="2856" r:id="rId7"/>
    <p:sldId id="2147377384" r:id="rId8"/>
    <p:sldId id="2147377381" r:id="rId9"/>
    <p:sldId id="2147377382" r:id="rId10"/>
    <p:sldId id="2147377386" r:id="rId11"/>
    <p:sldId id="2147377387" r:id="rId12"/>
  </p:sldIdLst>
  <p:sldSz cx="12192000" cy="6858000"/>
  <p:notesSz cx="9872663" cy="6797675"/>
  <p:custDataLst>
    <p:tags r:id="rId14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568B5AE7-AE9B-46AF-8837-FCCB19092573}">
          <p14:sldIdLst>
            <p14:sldId id="256"/>
            <p14:sldId id="2147377372"/>
            <p14:sldId id="2147377376"/>
            <p14:sldId id="2147377373"/>
            <p14:sldId id="2147377390"/>
            <p14:sldId id="2856"/>
            <p14:sldId id="2147377384"/>
            <p14:sldId id="2147377381"/>
            <p14:sldId id="2147377382"/>
            <p14:sldId id="2147377386"/>
            <p14:sldId id="21473773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8BE8D26-A22E-A2E1-D8A7-CD8B322DBC0F}" name="Vellucci Simone" initials="VS" userId="S::simone.vellucci@udcom.tesoro.it::fededd4e-313a-4492-b1e4-81d7d080e56e" providerId="AD"/>
  <p188:author id="{56BCF555-A5EA-D6FD-31E5-2381B6989E4D}" name="Utente guest" initials="Ug" userId="S::urn:spo:anon#cde8e937d7cb4b21fdab190ce053dc72b35b54d6b94fcb625f320db209a56de8::" providerId="AD"/>
  <p188:author id="{19155D66-2590-4DCD-1238-A3DCA6C2EF74}" name="Teo Firpo" initials="TF" userId="Teo Firpo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C730"/>
    <a:srgbClr val="0066CC"/>
    <a:srgbClr val="CCCC00"/>
    <a:srgbClr val="B2C8E2"/>
    <a:srgbClr val="617A98"/>
    <a:srgbClr val="DCE6F2"/>
    <a:srgbClr val="4CF65C"/>
    <a:srgbClr val="5FF84A"/>
    <a:srgbClr val="30E36C"/>
    <a:srgbClr val="ED47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63" autoAdjust="0"/>
    <p:restoredTop sz="96122" autoAdjust="0"/>
  </p:normalViewPr>
  <p:slideViewPr>
    <p:cSldViewPr snapToGrid="0">
      <p:cViewPr varScale="1">
        <p:scale>
          <a:sx n="107" d="100"/>
          <a:sy n="107" d="100"/>
        </p:scale>
        <p:origin x="462" y="114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Transizione 5.0</c:v>
                </c:pt>
              </c:strCache>
            </c:strRef>
          </c:tx>
          <c:spPr>
            <a:solidFill>
              <a:srgbClr val="00B050"/>
            </a:solidFill>
            <a:ln w="28575" cap="flat" cmpd="sng" algn="ctr">
              <a:solidFill>
                <a:srgbClr val="5FF84A"/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&gt;=10 
&gt;=15</c:v>
                </c:pt>
                <c:pt idx="1">
                  <c:v>6-10 
10-15</c:v>
                </c:pt>
                <c:pt idx="2">
                  <c:v>3-6 
5-10</c:v>
                </c:pt>
                <c:pt idx="3">
                  <c:v>&lt;3 
&lt;5</c:v>
                </c:pt>
              </c:strCache>
            </c:strRef>
          </c:cat>
          <c:val>
            <c:numRef>
              <c:f>Foglio1!$B$2:$B$5</c:f>
              <c:numCache>
                <c:formatCode>#,##0</c:formatCode>
                <c:ptCount val="4"/>
                <c:pt idx="0">
                  <c:v>1125000</c:v>
                </c:pt>
                <c:pt idx="1">
                  <c:v>1000000</c:v>
                </c:pt>
                <c:pt idx="2">
                  <c:v>87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5F-4555-A513-5E7E254DA07A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Transizione 4.0</c:v>
                </c:pt>
              </c:strCache>
            </c:strRef>
          </c:tx>
          <c:spPr>
            <a:solidFill>
              <a:srgbClr val="0070C0"/>
            </a:solidFill>
            <a:ln w="28575" cap="flat" cmpd="sng" algn="ctr">
              <a:solidFill>
                <a:srgbClr val="00B0F0"/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&gt;=10 
&gt;=15</c:v>
                </c:pt>
                <c:pt idx="1">
                  <c:v>6-10 
10-15</c:v>
                </c:pt>
                <c:pt idx="2">
                  <c:v>3-6 
5-10</c:v>
                </c:pt>
                <c:pt idx="3">
                  <c:v>&lt;3 
&lt;5</c:v>
                </c:pt>
              </c:strCache>
            </c:strRef>
          </c:cat>
          <c:val>
            <c:numRef>
              <c:f>Foglio1!$C$2:$C$5</c:f>
              <c:numCache>
                <c:formatCode>General</c:formatCode>
                <c:ptCount val="4"/>
                <c:pt idx="3" formatCode="#,##0">
                  <c:v>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5F-4555-A513-5E7E254DA07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28455903"/>
        <c:axId val="1479176511"/>
      </c:barChart>
      <c:catAx>
        <c:axId val="1428455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79176511"/>
        <c:crosses val="autoZero"/>
        <c:auto val="1"/>
        <c:lblAlgn val="ctr"/>
        <c:lblOffset val="100"/>
        <c:noMultiLvlLbl val="0"/>
      </c:catAx>
      <c:valAx>
        <c:axId val="14791765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284559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Transizione 5.0</c:v>
                </c:pt>
              </c:strCache>
            </c:strRef>
          </c:tx>
          <c:spPr>
            <a:solidFill>
              <a:srgbClr val="00B050"/>
            </a:solidFill>
            <a:ln w="28575" cap="flat" cmpd="sng" algn="ctr">
              <a:solidFill>
                <a:srgbClr val="4CF65C"/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&gt;=10 
&gt;=15</c:v>
                </c:pt>
                <c:pt idx="1">
                  <c:v>6-10 
10-15</c:v>
                </c:pt>
                <c:pt idx="2">
                  <c:v>3-6 
5-10</c:v>
                </c:pt>
                <c:pt idx="3">
                  <c:v>&lt;3 
&lt;5</c:v>
                </c:pt>
              </c:strCache>
            </c:strRef>
          </c:cat>
          <c:val>
            <c:numRef>
              <c:f>Foglio1!$B$2:$B$5</c:f>
              <c:numCache>
                <c:formatCode>#,##0</c:formatCode>
                <c:ptCount val="4"/>
                <c:pt idx="0">
                  <c:v>9000000</c:v>
                </c:pt>
                <c:pt idx="1">
                  <c:v>6500000</c:v>
                </c:pt>
                <c:pt idx="2">
                  <c:v>4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5F-4555-A513-5E7E254DA07A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Transizione 4.0</c:v>
                </c:pt>
              </c:strCache>
            </c:strRef>
          </c:tx>
          <c:spPr>
            <a:solidFill>
              <a:srgbClr val="0066CC"/>
            </a:solidFill>
            <a:ln w="28575" cap="flat" cmpd="sng" algn="ctr">
              <a:solidFill>
                <a:srgbClr val="00B0F0"/>
              </a:solidFill>
              <a:round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&gt;=10 
&gt;=15</c:v>
                </c:pt>
                <c:pt idx="1">
                  <c:v>6-10 
10-15</c:v>
                </c:pt>
                <c:pt idx="2">
                  <c:v>3-6 
5-10</c:v>
                </c:pt>
                <c:pt idx="3">
                  <c:v>&lt;3 
&lt;5</c:v>
                </c:pt>
              </c:strCache>
            </c:strRef>
          </c:cat>
          <c:val>
            <c:numRef>
              <c:f>Foglio1!$C$2:$C$5</c:f>
              <c:numCache>
                <c:formatCode>General</c:formatCode>
                <c:ptCount val="4"/>
                <c:pt idx="3" formatCode="#,##0">
                  <c:v>17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5F-4555-A513-5E7E254DA07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28455903"/>
        <c:axId val="1479176511"/>
      </c:barChart>
      <c:catAx>
        <c:axId val="1428455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79176511"/>
        <c:crosses val="autoZero"/>
        <c:auto val="1"/>
        <c:lblAlgn val="ctr"/>
        <c:lblOffset val="100"/>
        <c:noMultiLvlLbl val="0"/>
      </c:catAx>
      <c:valAx>
        <c:axId val="14791765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4284559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01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A4CDBF4-F0E1-4344-8ADE-3ED0E88DD46A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12518C77-7984-4A98-8F1A-187BC7881281}">
      <dgm:prSet phldrT="[Testo]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pPr>
            <a:buNone/>
          </a:pPr>
          <a:r>
            <a:rPr lang="it-IT" b="1" dirty="0">
              <a:solidFill>
                <a:srgbClr val="0066CC"/>
              </a:solidFill>
            </a:rPr>
            <a:t>Misura automatica</a:t>
          </a:r>
        </a:p>
        <a:p>
          <a:pPr>
            <a:buNone/>
          </a:pPr>
          <a:r>
            <a:rPr lang="it-IT" dirty="0">
              <a:solidFill>
                <a:srgbClr val="0066CC"/>
              </a:solidFill>
            </a:rPr>
            <a:t>No istruttoria </a:t>
          </a:r>
          <a:endParaRPr lang="it-IT" b="1" dirty="0">
            <a:solidFill>
              <a:srgbClr val="0066CC"/>
            </a:solidFill>
          </a:endParaRPr>
        </a:p>
      </dgm:t>
    </dgm:pt>
    <dgm:pt modelId="{A11D561C-D5D9-40AA-A302-B81A44A93337}" type="parTrans" cxnId="{5D887F7B-F2F6-4E7E-9DFA-0249459CFD28}">
      <dgm:prSet/>
      <dgm:spPr/>
      <dgm:t>
        <a:bodyPr/>
        <a:lstStyle/>
        <a:p>
          <a:endParaRPr lang="it-IT"/>
        </a:p>
      </dgm:t>
    </dgm:pt>
    <dgm:pt modelId="{70541C0D-BDDB-46E2-8D5E-DC5364E8A1D7}" type="sibTrans" cxnId="{5D887F7B-F2F6-4E7E-9DFA-0249459CFD28}">
      <dgm:prSet/>
      <dgm:spPr/>
      <dgm:t>
        <a:bodyPr/>
        <a:lstStyle/>
        <a:p>
          <a:endParaRPr lang="it-IT"/>
        </a:p>
      </dgm:t>
    </dgm:pt>
    <dgm:pt modelId="{4CA6D58B-2A8E-4E19-A0A2-684B25E81221}">
      <dgm:prSet phldrT="[Testo]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pPr>
            <a:buNone/>
          </a:pPr>
          <a:endParaRPr lang="it-IT" b="1" dirty="0">
            <a:solidFill>
              <a:srgbClr val="0066CC"/>
            </a:solidFill>
          </a:endParaRPr>
        </a:p>
        <a:p>
          <a:pPr>
            <a:buNone/>
          </a:pPr>
          <a:r>
            <a:rPr lang="it-IT" b="1" dirty="0">
              <a:solidFill>
                <a:srgbClr val="0066CC"/>
              </a:solidFill>
            </a:rPr>
            <a:t>Misura non selettiva</a:t>
          </a:r>
        </a:p>
        <a:p>
          <a:pPr>
            <a:buNone/>
          </a:pPr>
          <a:r>
            <a:rPr lang="it-IT" dirty="0">
              <a:solidFill>
                <a:srgbClr val="0066CC"/>
              </a:solidFill>
            </a:rPr>
            <a:t>No aiuto di Stato</a:t>
          </a:r>
          <a:endParaRPr lang="it-IT" b="1" dirty="0">
            <a:solidFill>
              <a:srgbClr val="0066CC"/>
            </a:solidFill>
          </a:endParaRPr>
        </a:p>
      </dgm:t>
    </dgm:pt>
    <dgm:pt modelId="{3FA4B9F4-3D49-427D-AF87-1BE9E9C0A803}" type="parTrans" cxnId="{B10F47C5-4A89-45DD-A2FF-CBA0EE9630C8}">
      <dgm:prSet/>
      <dgm:spPr/>
      <dgm:t>
        <a:bodyPr/>
        <a:lstStyle/>
        <a:p>
          <a:endParaRPr lang="it-IT"/>
        </a:p>
      </dgm:t>
    </dgm:pt>
    <dgm:pt modelId="{C1ED1E17-C445-4078-A54A-21A8553B8948}" type="sibTrans" cxnId="{B10F47C5-4A89-45DD-A2FF-CBA0EE9630C8}">
      <dgm:prSet/>
      <dgm:spPr/>
      <dgm:t>
        <a:bodyPr/>
        <a:lstStyle/>
        <a:p>
          <a:endParaRPr lang="it-IT"/>
        </a:p>
      </dgm:t>
    </dgm:pt>
    <dgm:pt modelId="{102D1E49-E9EA-4CF2-A03B-D57D7FE4D4A7}">
      <dgm:prSet phldrT="[Testo]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pPr>
            <a:buNone/>
          </a:pPr>
          <a:r>
            <a:rPr lang="it-IT" b="1" dirty="0">
              <a:solidFill>
                <a:srgbClr val="0066CC"/>
              </a:solidFill>
            </a:rPr>
            <a:t>Beneficiari</a:t>
          </a:r>
        </a:p>
        <a:p>
          <a:pPr>
            <a:buNone/>
          </a:pPr>
          <a:r>
            <a:rPr lang="it-IT" dirty="0">
              <a:solidFill>
                <a:srgbClr val="0066CC"/>
              </a:solidFill>
            </a:rPr>
            <a:t>Tutte le imprese</a:t>
          </a:r>
          <a:endParaRPr lang="it-IT" b="1" dirty="0">
            <a:solidFill>
              <a:srgbClr val="0066CC"/>
            </a:solidFill>
          </a:endParaRPr>
        </a:p>
      </dgm:t>
    </dgm:pt>
    <dgm:pt modelId="{2BFF2D1F-8BE4-491A-BD51-BF7515E4039E}" type="parTrans" cxnId="{F5B4708C-9796-4B00-BE3D-4BF1A5E79D24}">
      <dgm:prSet/>
      <dgm:spPr/>
      <dgm:t>
        <a:bodyPr/>
        <a:lstStyle/>
        <a:p>
          <a:endParaRPr lang="it-IT"/>
        </a:p>
      </dgm:t>
    </dgm:pt>
    <dgm:pt modelId="{FC3E41B6-A0C3-48D2-94CB-10BAAB1F8263}" type="sibTrans" cxnId="{F5B4708C-9796-4B00-BE3D-4BF1A5E79D24}">
      <dgm:prSet/>
      <dgm:spPr/>
      <dgm:t>
        <a:bodyPr/>
        <a:lstStyle/>
        <a:p>
          <a:endParaRPr lang="it-IT"/>
        </a:p>
      </dgm:t>
    </dgm:pt>
    <dgm:pt modelId="{153A4072-A57C-4FAC-ABC7-9B24117FEF10}">
      <dgm:prSet phldrT="[Testo]"/>
      <dgm:spPr>
        <a:solidFill>
          <a:schemeClr val="bg1"/>
        </a:solidFill>
        <a:ln>
          <a:solidFill>
            <a:srgbClr val="00B050"/>
          </a:solidFill>
        </a:ln>
      </dgm:spPr>
      <dgm:t>
        <a:bodyPr/>
        <a:lstStyle/>
        <a:p>
          <a:pPr>
            <a:buNone/>
          </a:pPr>
          <a:endParaRPr lang="it-IT" b="1" dirty="0">
            <a:solidFill>
              <a:srgbClr val="0066CC"/>
            </a:solidFill>
          </a:endParaRPr>
        </a:p>
        <a:p>
          <a:pPr>
            <a:buNone/>
          </a:pPr>
          <a:r>
            <a:rPr lang="it-IT" b="1" dirty="0">
              <a:solidFill>
                <a:srgbClr val="0066CC"/>
              </a:solidFill>
            </a:rPr>
            <a:t>Misura cumulabile</a:t>
          </a:r>
        </a:p>
        <a:p>
          <a:pPr>
            <a:buNone/>
          </a:pPr>
          <a:r>
            <a:rPr lang="it-IT" dirty="0">
              <a:solidFill>
                <a:srgbClr val="0066CC"/>
              </a:solidFill>
            </a:rPr>
            <a:t>No ZES e 4.0</a:t>
          </a:r>
          <a:endParaRPr lang="it-IT" b="1" dirty="0">
            <a:solidFill>
              <a:srgbClr val="0066CC"/>
            </a:solidFill>
          </a:endParaRPr>
        </a:p>
      </dgm:t>
    </dgm:pt>
    <dgm:pt modelId="{293FD952-6143-45EC-911E-AC3EB9A5EA88}" type="parTrans" cxnId="{29FCD740-86C0-4266-A333-6489EA891536}">
      <dgm:prSet/>
      <dgm:spPr/>
      <dgm:t>
        <a:bodyPr/>
        <a:lstStyle/>
        <a:p>
          <a:endParaRPr lang="it-IT"/>
        </a:p>
      </dgm:t>
    </dgm:pt>
    <dgm:pt modelId="{0D6EAACC-82A3-45BA-BAD8-AB8657EF59F4}" type="sibTrans" cxnId="{29FCD740-86C0-4266-A333-6489EA891536}">
      <dgm:prSet/>
      <dgm:spPr/>
      <dgm:t>
        <a:bodyPr/>
        <a:lstStyle/>
        <a:p>
          <a:endParaRPr lang="it-IT"/>
        </a:p>
      </dgm:t>
    </dgm:pt>
    <dgm:pt modelId="{E6A5EEF0-44E6-4BAC-B590-613C819BD2F4}" type="pres">
      <dgm:prSet presAssocID="{CA4CDBF4-F0E1-4344-8ADE-3ED0E88DD46A}" presName="compositeShape" presStyleCnt="0">
        <dgm:presLayoutVars>
          <dgm:chMax val="7"/>
          <dgm:dir/>
          <dgm:resizeHandles val="exact"/>
        </dgm:presLayoutVars>
      </dgm:prSet>
      <dgm:spPr/>
    </dgm:pt>
    <dgm:pt modelId="{E323FD31-A4E0-4604-9848-33DEC41CB0C1}" type="pres">
      <dgm:prSet presAssocID="{CA4CDBF4-F0E1-4344-8ADE-3ED0E88DD46A}" presName="wedge1" presStyleLbl="node1" presStyleIdx="0" presStyleCnt="4" custLinFactNeighborX="10135" custLinFactNeighborY="4493"/>
      <dgm:spPr/>
    </dgm:pt>
    <dgm:pt modelId="{61B4125D-2032-4FE3-B753-47F677A1733D}" type="pres">
      <dgm:prSet presAssocID="{CA4CDBF4-F0E1-4344-8ADE-3ED0E88DD46A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DA90245-5A87-46C5-BB2F-9801975A201B}" type="pres">
      <dgm:prSet presAssocID="{CA4CDBF4-F0E1-4344-8ADE-3ED0E88DD46A}" presName="wedge2" presStyleLbl="node1" presStyleIdx="1" presStyleCnt="4" custLinFactNeighborX="14334" custLinFactNeighborY="-1484"/>
      <dgm:spPr/>
    </dgm:pt>
    <dgm:pt modelId="{8D39AA85-D804-4290-B36B-90C7AB511321}" type="pres">
      <dgm:prSet presAssocID="{CA4CDBF4-F0E1-4344-8ADE-3ED0E88DD46A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50E97C64-ACFF-4D13-A395-ECD791F49399}" type="pres">
      <dgm:prSet presAssocID="{CA4CDBF4-F0E1-4344-8ADE-3ED0E88DD46A}" presName="wedge3" presStyleLbl="node1" presStyleIdx="2" presStyleCnt="4" custLinFactNeighborX="14334" custLinFactNeighborY="-1484"/>
      <dgm:spPr/>
    </dgm:pt>
    <dgm:pt modelId="{2D4E833F-5AC8-4CA1-B045-3B2F10066C09}" type="pres">
      <dgm:prSet presAssocID="{CA4CDBF4-F0E1-4344-8ADE-3ED0E88DD46A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D99F8149-6CF8-4FB2-AED5-9F6828C738A6}" type="pres">
      <dgm:prSet presAssocID="{CA4CDBF4-F0E1-4344-8ADE-3ED0E88DD46A}" presName="wedge4" presStyleLbl="node1" presStyleIdx="3" presStyleCnt="4" custLinFactNeighborX="12112" custLinFactNeighborY="-3748"/>
      <dgm:spPr/>
    </dgm:pt>
    <dgm:pt modelId="{A103D173-DD4F-4C3C-BAB2-E90D9C710631}" type="pres">
      <dgm:prSet presAssocID="{CA4CDBF4-F0E1-4344-8ADE-3ED0E88DD46A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3CDAF627-554D-4E62-9538-3C0754399E43}" type="presOf" srcId="{102D1E49-E9EA-4CF2-A03B-D57D7FE4D4A7}" destId="{D99F8149-6CF8-4FB2-AED5-9F6828C738A6}" srcOrd="0" destOrd="0" presId="urn:microsoft.com/office/officeart/2005/8/layout/chart3"/>
    <dgm:cxn modelId="{29FCD740-86C0-4266-A333-6489EA891536}" srcId="{CA4CDBF4-F0E1-4344-8ADE-3ED0E88DD46A}" destId="{153A4072-A57C-4FAC-ABC7-9B24117FEF10}" srcOrd="1" destOrd="0" parTransId="{293FD952-6143-45EC-911E-AC3EB9A5EA88}" sibTransId="{0D6EAACC-82A3-45BA-BAD8-AB8657EF59F4}"/>
    <dgm:cxn modelId="{B9CE2842-2211-446E-8464-570E9EA11778}" type="presOf" srcId="{12518C77-7984-4A98-8F1A-187BC7881281}" destId="{61B4125D-2032-4FE3-B753-47F677A1733D}" srcOrd="1" destOrd="0" presId="urn:microsoft.com/office/officeart/2005/8/layout/chart3"/>
    <dgm:cxn modelId="{FF4A1C49-532A-461A-9BCE-711D21FBAB66}" type="presOf" srcId="{4CA6D58B-2A8E-4E19-A0A2-684B25E81221}" destId="{2D4E833F-5AC8-4CA1-B045-3B2F10066C09}" srcOrd="1" destOrd="0" presId="urn:microsoft.com/office/officeart/2005/8/layout/chart3"/>
    <dgm:cxn modelId="{19FA2251-7B3F-471E-BA97-3C7780F4FDD9}" type="presOf" srcId="{12518C77-7984-4A98-8F1A-187BC7881281}" destId="{E323FD31-A4E0-4604-9848-33DEC41CB0C1}" srcOrd="0" destOrd="0" presId="urn:microsoft.com/office/officeart/2005/8/layout/chart3"/>
    <dgm:cxn modelId="{5D887F7B-F2F6-4E7E-9DFA-0249459CFD28}" srcId="{CA4CDBF4-F0E1-4344-8ADE-3ED0E88DD46A}" destId="{12518C77-7984-4A98-8F1A-187BC7881281}" srcOrd="0" destOrd="0" parTransId="{A11D561C-D5D9-40AA-A302-B81A44A93337}" sibTransId="{70541C0D-BDDB-46E2-8D5E-DC5364E8A1D7}"/>
    <dgm:cxn modelId="{F5B4708C-9796-4B00-BE3D-4BF1A5E79D24}" srcId="{CA4CDBF4-F0E1-4344-8ADE-3ED0E88DD46A}" destId="{102D1E49-E9EA-4CF2-A03B-D57D7FE4D4A7}" srcOrd="3" destOrd="0" parTransId="{2BFF2D1F-8BE4-491A-BD51-BF7515E4039E}" sibTransId="{FC3E41B6-A0C3-48D2-94CB-10BAAB1F8263}"/>
    <dgm:cxn modelId="{6C02D6A1-3249-45EC-9A60-8FCCD0B5FF75}" type="presOf" srcId="{153A4072-A57C-4FAC-ABC7-9B24117FEF10}" destId="{DDA90245-5A87-46C5-BB2F-9801975A201B}" srcOrd="0" destOrd="0" presId="urn:microsoft.com/office/officeart/2005/8/layout/chart3"/>
    <dgm:cxn modelId="{59DC7ABB-BECE-4C3B-9DCF-8E1FF1988E83}" type="presOf" srcId="{4CA6D58B-2A8E-4E19-A0A2-684B25E81221}" destId="{50E97C64-ACFF-4D13-A395-ECD791F49399}" srcOrd="0" destOrd="0" presId="urn:microsoft.com/office/officeart/2005/8/layout/chart3"/>
    <dgm:cxn modelId="{6686B8BD-5228-4D3A-9060-BB46AFA6A436}" type="presOf" srcId="{CA4CDBF4-F0E1-4344-8ADE-3ED0E88DD46A}" destId="{E6A5EEF0-44E6-4BAC-B590-613C819BD2F4}" srcOrd="0" destOrd="0" presId="urn:microsoft.com/office/officeart/2005/8/layout/chart3"/>
    <dgm:cxn modelId="{B10F47C5-4A89-45DD-A2FF-CBA0EE9630C8}" srcId="{CA4CDBF4-F0E1-4344-8ADE-3ED0E88DD46A}" destId="{4CA6D58B-2A8E-4E19-A0A2-684B25E81221}" srcOrd="2" destOrd="0" parTransId="{3FA4B9F4-3D49-427D-AF87-1BE9E9C0A803}" sibTransId="{C1ED1E17-C445-4078-A54A-21A8553B8948}"/>
    <dgm:cxn modelId="{F8DDE6D3-F960-484A-A274-6DF343DC1250}" type="presOf" srcId="{153A4072-A57C-4FAC-ABC7-9B24117FEF10}" destId="{8D39AA85-D804-4290-B36B-90C7AB511321}" srcOrd="1" destOrd="0" presId="urn:microsoft.com/office/officeart/2005/8/layout/chart3"/>
    <dgm:cxn modelId="{A8B776DF-BA7B-4511-827E-AF2081BB1281}" type="presOf" srcId="{102D1E49-E9EA-4CF2-A03B-D57D7FE4D4A7}" destId="{A103D173-DD4F-4C3C-BAB2-E90D9C710631}" srcOrd="1" destOrd="0" presId="urn:microsoft.com/office/officeart/2005/8/layout/chart3"/>
    <dgm:cxn modelId="{2723D9BA-C206-434A-A2B9-E1528C0971A3}" type="presParOf" srcId="{E6A5EEF0-44E6-4BAC-B590-613C819BD2F4}" destId="{E323FD31-A4E0-4604-9848-33DEC41CB0C1}" srcOrd="0" destOrd="0" presId="urn:microsoft.com/office/officeart/2005/8/layout/chart3"/>
    <dgm:cxn modelId="{10D0E89B-8206-4335-83B7-0CEF9671BBE0}" type="presParOf" srcId="{E6A5EEF0-44E6-4BAC-B590-613C819BD2F4}" destId="{61B4125D-2032-4FE3-B753-47F677A1733D}" srcOrd="1" destOrd="0" presId="urn:microsoft.com/office/officeart/2005/8/layout/chart3"/>
    <dgm:cxn modelId="{A5C7E9BF-24B1-4E5E-B8A8-93774303E070}" type="presParOf" srcId="{E6A5EEF0-44E6-4BAC-B590-613C819BD2F4}" destId="{DDA90245-5A87-46C5-BB2F-9801975A201B}" srcOrd="2" destOrd="0" presId="urn:microsoft.com/office/officeart/2005/8/layout/chart3"/>
    <dgm:cxn modelId="{FDB959C6-8DD6-48A7-92BE-D932CE264742}" type="presParOf" srcId="{E6A5EEF0-44E6-4BAC-B590-613C819BD2F4}" destId="{8D39AA85-D804-4290-B36B-90C7AB511321}" srcOrd="3" destOrd="0" presId="urn:microsoft.com/office/officeart/2005/8/layout/chart3"/>
    <dgm:cxn modelId="{D915618F-7BE6-4BD7-A13B-9159AAA9034F}" type="presParOf" srcId="{E6A5EEF0-44E6-4BAC-B590-613C819BD2F4}" destId="{50E97C64-ACFF-4D13-A395-ECD791F49399}" srcOrd="4" destOrd="0" presId="urn:microsoft.com/office/officeart/2005/8/layout/chart3"/>
    <dgm:cxn modelId="{7A78D934-7931-454C-9F40-C5F77C0EC5EB}" type="presParOf" srcId="{E6A5EEF0-44E6-4BAC-B590-613C819BD2F4}" destId="{2D4E833F-5AC8-4CA1-B045-3B2F10066C09}" srcOrd="5" destOrd="0" presId="urn:microsoft.com/office/officeart/2005/8/layout/chart3"/>
    <dgm:cxn modelId="{8667D52B-79E8-43D0-8C0E-9B5C83AB6D63}" type="presParOf" srcId="{E6A5EEF0-44E6-4BAC-B590-613C819BD2F4}" destId="{D99F8149-6CF8-4FB2-AED5-9F6828C738A6}" srcOrd="6" destOrd="0" presId="urn:microsoft.com/office/officeart/2005/8/layout/chart3"/>
    <dgm:cxn modelId="{ACBC27EF-2E7F-4B63-92C4-30D6417722AF}" type="presParOf" srcId="{E6A5EEF0-44E6-4BAC-B590-613C819BD2F4}" destId="{A103D173-DD4F-4C3C-BAB2-E90D9C710631}" srcOrd="7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E2FE60F-0CFC-4B8C-8B52-46078302B0D6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7DC11D55-1FD0-4F8D-B483-91C85056065A}">
      <dgm:prSet phldrT="[Testo]" custT="1"/>
      <dgm:spPr>
        <a:noFill/>
        <a:ln>
          <a:noFill/>
        </a:ln>
      </dgm:spPr>
      <dgm:t>
        <a:bodyPr/>
        <a:lstStyle/>
        <a:p>
          <a:endParaRPr lang="it-IT" sz="2800" dirty="0">
            <a:solidFill>
              <a:srgbClr val="00B050"/>
            </a:solidFill>
          </a:endParaRPr>
        </a:p>
      </dgm:t>
    </dgm:pt>
    <dgm:pt modelId="{0A2B336A-586B-49CE-8C51-703C8E4128AF}" type="parTrans" cxnId="{82624585-5AE7-4294-B476-1119DD72B893}">
      <dgm:prSet/>
      <dgm:spPr/>
      <dgm:t>
        <a:bodyPr/>
        <a:lstStyle/>
        <a:p>
          <a:endParaRPr lang="it-IT"/>
        </a:p>
      </dgm:t>
    </dgm:pt>
    <dgm:pt modelId="{EAF7AD2F-BB5B-45A0-A5CB-F093F7CA51DD}" type="sibTrans" cxnId="{82624585-5AE7-4294-B476-1119DD72B893}">
      <dgm:prSet/>
      <dgm:spPr/>
      <dgm:t>
        <a:bodyPr/>
        <a:lstStyle/>
        <a:p>
          <a:endParaRPr lang="it-IT"/>
        </a:p>
      </dgm:t>
    </dgm:pt>
    <dgm:pt modelId="{99340C71-E668-4716-BD26-B89454B713C4}">
      <dgm:prSet phldrT="[Testo]" custT="1"/>
      <dgm:spPr/>
      <dgm:t>
        <a:bodyPr/>
        <a:lstStyle/>
        <a:p>
          <a:r>
            <a:rPr lang="it-IT" sz="1400" b="0" i="0" dirty="0">
              <a:solidFill>
                <a:schemeClr val="tx2"/>
              </a:solidFill>
            </a:rPr>
            <a:t>Attività direttamente connesse ai combustibili fossili</a:t>
          </a:r>
          <a:endParaRPr lang="it-IT" sz="1400" dirty="0">
            <a:solidFill>
              <a:schemeClr val="tx2"/>
            </a:solidFill>
          </a:endParaRPr>
        </a:p>
      </dgm:t>
    </dgm:pt>
    <dgm:pt modelId="{5252F438-763B-48B5-8875-0B51D8E409D1}" type="parTrans" cxnId="{6A5E6D5F-0836-4E72-B0D9-93A5963EA47A}">
      <dgm:prSet/>
      <dgm:spPr/>
      <dgm:t>
        <a:bodyPr/>
        <a:lstStyle/>
        <a:p>
          <a:endParaRPr lang="it-IT"/>
        </a:p>
      </dgm:t>
    </dgm:pt>
    <dgm:pt modelId="{364F5BFB-CF9B-4B6E-A821-31B1045722C5}" type="sibTrans" cxnId="{6A5E6D5F-0836-4E72-B0D9-93A5963EA47A}">
      <dgm:prSet/>
      <dgm:spPr/>
      <dgm:t>
        <a:bodyPr/>
        <a:lstStyle/>
        <a:p>
          <a:endParaRPr lang="it-IT"/>
        </a:p>
      </dgm:t>
    </dgm:pt>
    <dgm:pt modelId="{0DF891FD-6EE3-423C-9C7A-E869CC176780}">
      <dgm:prSet phldrT="[Testo]" custT="1"/>
      <dgm:spPr/>
      <dgm:t>
        <a:bodyPr/>
        <a:lstStyle/>
        <a:p>
          <a:r>
            <a:rPr lang="it-IT" sz="1400" b="0" i="0" dirty="0">
              <a:solidFill>
                <a:schemeClr val="tx2"/>
              </a:solidFill>
            </a:rPr>
            <a:t>Attività nell'ambito del sistema di scambio di quote di emissione dell’UE (ETS) che generano emissioni di gas a effetto serra previste non inferiori ai pertinenti parametri di riferimento</a:t>
          </a:r>
          <a:endParaRPr lang="it-IT" sz="1400" dirty="0">
            <a:solidFill>
              <a:schemeClr val="tx2"/>
            </a:solidFill>
          </a:endParaRPr>
        </a:p>
      </dgm:t>
    </dgm:pt>
    <dgm:pt modelId="{580360D4-E75B-4197-B4C7-AAA6213488A6}" type="parTrans" cxnId="{41F9A51A-9D88-4C4D-9E20-143ADB4E2034}">
      <dgm:prSet/>
      <dgm:spPr/>
      <dgm:t>
        <a:bodyPr/>
        <a:lstStyle/>
        <a:p>
          <a:endParaRPr lang="it-IT"/>
        </a:p>
      </dgm:t>
    </dgm:pt>
    <dgm:pt modelId="{3A7DC581-C0C5-4FAA-A475-9B3D40CB9FF2}" type="sibTrans" cxnId="{41F9A51A-9D88-4C4D-9E20-143ADB4E2034}">
      <dgm:prSet/>
      <dgm:spPr/>
      <dgm:t>
        <a:bodyPr/>
        <a:lstStyle/>
        <a:p>
          <a:endParaRPr lang="it-IT"/>
        </a:p>
      </dgm:t>
    </dgm:pt>
    <dgm:pt modelId="{A00A8B75-0C0E-40E4-9998-B09DF5EB0C0E}">
      <dgm:prSet phldrT="[Testo]" custT="1"/>
      <dgm:spPr/>
      <dgm:t>
        <a:bodyPr/>
        <a:lstStyle/>
        <a:p>
          <a:r>
            <a:rPr lang="it-IT" sz="1400" b="0" i="0" dirty="0">
              <a:solidFill>
                <a:schemeClr val="tx2"/>
              </a:solidFill>
            </a:rPr>
            <a:t>Attività connesse alle discariche di rifiuti, agli inceneritori e agli impianti di trattamento meccanico biologico</a:t>
          </a:r>
          <a:endParaRPr lang="it-IT" sz="1400" dirty="0">
            <a:solidFill>
              <a:schemeClr val="tx2"/>
            </a:solidFill>
          </a:endParaRPr>
        </a:p>
      </dgm:t>
    </dgm:pt>
    <dgm:pt modelId="{E1B948AD-F1B3-40C8-AD17-29EAFD2E1515}" type="parTrans" cxnId="{6EB75B34-D670-4BCD-8434-6511B5B52958}">
      <dgm:prSet/>
      <dgm:spPr/>
      <dgm:t>
        <a:bodyPr/>
        <a:lstStyle/>
        <a:p>
          <a:endParaRPr lang="it-IT"/>
        </a:p>
      </dgm:t>
    </dgm:pt>
    <dgm:pt modelId="{6E56B80D-4603-4E55-B28C-C0B2C890094A}" type="sibTrans" cxnId="{6EB75B34-D670-4BCD-8434-6511B5B52958}">
      <dgm:prSet/>
      <dgm:spPr/>
      <dgm:t>
        <a:bodyPr/>
        <a:lstStyle/>
        <a:p>
          <a:endParaRPr lang="it-IT"/>
        </a:p>
      </dgm:t>
    </dgm:pt>
    <dgm:pt modelId="{A4A47406-BBA6-4334-B1E5-D6BE82FA7889}">
      <dgm:prSet phldrT="[Testo]" custT="1"/>
      <dgm:spPr/>
      <dgm:t>
        <a:bodyPr/>
        <a:lstStyle/>
        <a:p>
          <a:r>
            <a:rPr lang="it-IT" sz="1400" b="0" i="0" dirty="0">
              <a:solidFill>
                <a:schemeClr val="tx2"/>
              </a:solidFill>
            </a:rPr>
            <a:t>Attività nel cui processo produttivo venga generata un’elevata dose di sostanze inquinanti classificabili come rifiuti speciali pericolosi </a:t>
          </a:r>
          <a:r>
            <a:rPr lang="it-IT" sz="1400" b="0" i="0" u="none" dirty="0">
              <a:solidFill>
                <a:schemeClr val="tx2"/>
              </a:solidFill>
            </a:rPr>
            <a:t>di cui al regolamento (UE) n. 1357/2014 della Commissione, del 18 dicembre 2014, e </a:t>
          </a:r>
          <a:r>
            <a:rPr lang="it-IT" sz="1400" b="0" i="0" dirty="0">
              <a:solidFill>
                <a:schemeClr val="tx2"/>
              </a:solidFill>
            </a:rPr>
            <a:t>il cui smaltimento a lungo termine potrebbe causare un danno all'ambiente</a:t>
          </a:r>
          <a:endParaRPr lang="it-IT" sz="1400" dirty="0">
            <a:solidFill>
              <a:schemeClr val="tx2"/>
            </a:solidFill>
          </a:endParaRPr>
        </a:p>
      </dgm:t>
    </dgm:pt>
    <dgm:pt modelId="{A643B19D-AA30-4878-8ABB-6D5C7886184F}" type="parTrans" cxnId="{A2BA72C2-5AB0-4A2E-939C-E43CE2C2CA9B}">
      <dgm:prSet/>
      <dgm:spPr/>
      <dgm:t>
        <a:bodyPr/>
        <a:lstStyle/>
        <a:p>
          <a:endParaRPr lang="it-IT"/>
        </a:p>
      </dgm:t>
    </dgm:pt>
    <dgm:pt modelId="{4C103627-C53A-4393-9244-9D6135051C84}" type="sibTrans" cxnId="{A2BA72C2-5AB0-4A2E-939C-E43CE2C2CA9B}">
      <dgm:prSet/>
      <dgm:spPr/>
      <dgm:t>
        <a:bodyPr/>
        <a:lstStyle/>
        <a:p>
          <a:endParaRPr lang="it-IT"/>
        </a:p>
      </dgm:t>
    </dgm:pt>
    <dgm:pt modelId="{256208BE-7433-46C3-89EE-C0CA42D94FF9}" type="pres">
      <dgm:prSet presAssocID="{0E2FE60F-0CFC-4B8C-8B52-46078302B0D6}" presName="layout" presStyleCnt="0">
        <dgm:presLayoutVars>
          <dgm:chMax/>
          <dgm:chPref/>
          <dgm:dir/>
          <dgm:resizeHandles/>
        </dgm:presLayoutVars>
      </dgm:prSet>
      <dgm:spPr/>
    </dgm:pt>
    <dgm:pt modelId="{F5655B47-72BA-4258-B2B0-C700B0F38313}" type="pres">
      <dgm:prSet presAssocID="{7DC11D55-1FD0-4F8D-B483-91C85056065A}" presName="root" presStyleCnt="0">
        <dgm:presLayoutVars>
          <dgm:chMax/>
          <dgm:chPref/>
        </dgm:presLayoutVars>
      </dgm:prSet>
      <dgm:spPr/>
    </dgm:pt>
    <dgm:pt modelId="{9FBF3018-BD7C-4EF3-9AD5-737CB53BEFB0}" type="pres">
      <dgm:prSet presAssocID="{7DC11D55-1FD0-4F8D-B483-91C85056065A}" presName="rootComposite" presStyleCnt="0">
        <dgm:presLayoutVars/>
      </dgm:prSet>
      <dgm:spPr/>
    </dgm:pt>
    <dgm:pt modelId="{8265907D-AAFC-4E1D-90C1-5AE3FA23F5BF}" type="pres">
      <dgm:prSet presAssocID="{7DC11D55-1FD0-4F8D-B483-91C85056065A}" presName="ParentAccent" presStyleLbl="alignNode1" presStyleIdx="0" presStyleCnt="1" custScaleX="108578" custScaleY="130719" custLinFactNeighborX="0" custLinFactNeighborY="-78930"/>
      <dgm:spPr>
        <a:solidFill>
          <a:schemeClr val="accent3">
            <a:lumMod val="40000"/>
            <a:lumOff val="60000"/>
          </a:schemeClr>
        </a:solidFill>
        <a:ln>
          <a:solidFill>
            <a:srgbClr val="00B050"/>
          </a:solidFill>
        </a:ln>
      </dgm:spPr>
    </dgm:pt>
    <dgm:pt modelId="{D16A09FA-21E4-4E47-B941-D8845F65804A}" type="pres">
      <dgm:prSet presAssocID="{7DC11D55-1FD0-4F8D-B483-91C85056065A}" presName="ParentSmallAccent" presStyleLbl="fgAcc1" presStyleIdx="0" presStyleCnt="1" custLinFactY="-49611" custLinFactNeighborX="-37101" custLinFactNeighborY="-100000"/>
      <dgm:spPr>
        <a:solidFill>
          <a:schemeClr val="accent3">
            <a:lumMod val="40000"/>
            <a:lumOff val="60000"/>
            <a:alpha val="90000"/>
          </a:schemeClr>
        </a:solidFill>
        <a:ln>
          <a:noFill/>
        </a:ln>
      </dgm:spPr>
    </dgm:pt>
    <dgm:pt modelId="{0B857F97-473A-4239-9A96-8F13497FD56B}" type="pres">
      <dgm:prSet presAssocID="{7DC11D55-1FD0-4F8D-B483-91C85056065A}" presName="Parent" presStyleLbl="revTx" presStyleIdx="0" presStyleCnt="5" custScaleX="42676" custScaleY="32983" custLinFactNeighborX="-111" custLinFactNeighborY="36311">
        <dgm:presLayoutVars>
          <dgm:chMax/>
          <dgm:chPref val="4"/>
          <dgm:bulletEnabled val="1"/>
        </dgm:presLayoutVars>
      </dgm:prSet>
      <dgm:spPr/>
    </dgm:pt>
    <dgm:pt modelId="{FE685985-043A-42F5-A19F-1168BE13054F}" type="pres">
      <dgm:prSet presAssocID="{7DC11D55-1FD0-4F8D-B483-91C85056065A}" presName="childShape" presStyleCnt="0">
        <dgm:presLayoutVars>
          <dgm:chMax val="0"/>
          <dgm:chPref val="0"/>
        </dgm:presLayoutVars>
      </dgm:prSet>
      <dgm:spPr/>
    </dgm:pt>
    <dgm:pt modelId="{9C9B8B2A-21C1-434F-8118-07D7C2A37392}" type="pres">
      <dgm:prSet presAssocID="{99340C71-E668-4716-BD26-B89454B713C4}" presName="childComposite" presStyleCnt="0">
        <dgm:presLayoutVars>
          <dgm:chMax val="0"/>
          <dgm:chPref val="0"/>
        </dgm:presLayoutVars>
      </dgm:prSet>
      <dgm:spPr/>
    </dgm:pt>
    <dgm:pt modelId="{432F9DCA-AC7A-4689-AD84-7A25E07B3928}" type="pres">
      <dgm:prSet presAssocID="{99340C71-E668-4716-BD26-B89454B713C4}" presName="ChildAccent" presStyleLbl="solidFgAcc1" presStyleIdx="0" presStyleCnt="4" custLinFactY="-56090" custLinFactNeighborX="28817" custLinFactNeighborY="-100000"/>
      <dgm:spPr>
        <a:solidFill>
          <a:schemeClr val="bg2">
            <a:lumMod val="90000"/>
          </a:schemeClr>
        </a:solidFill>
        <a:ln>
          <a:solidFill>
            <a:srgbClr val="00B050"/>
          </a:solidFill>
        </a:ln>
      </dgm:spPr>
    </dgm:pt>
    <dgm:pt modelId="{AAFA5E3E-85E9-4BCA-B80D-639B2AC53C26}" type="pres">
      <dgm:prSet presAssocID="{99340C71-E668-4716-BD26-B89454B713C4}" presName="Child" presStyleLbl="revTx" presStyleIdx="1" presStyleCnt="5" custLinFactNeighborX="4799" custLinFactNeighborY="-69393">
        <dgm:presLayoutVars>
          <dgm:chMax val="0"/>
          <dgm:chPref val="0"/>
          <dgm:bulletEnabled val="1"/>
        </dgm:presLayoutVars>
      </dgm:prSet>
      <dgm:spPr/>
    </dgm:pt>
    <dgm:pt modelId="{1EBF361D-092B-4B48-911A-5931DB146DB6}" type="pres">
      <dgm:prSet presAssocID="{0DF891FD-6EE3-423C-9C7A-E869CC176780}" presName="childComposite" presStyleCnt="0">
        <dgm:presLayoutVars>
          <dgm:chMax val="0"/>
          <dgm:chPref val="0"/>
        </dgm:presLayoutVars>
      </dgm:prSet>
      <dgm:spPr/>
    </dgm:pt>
    <dgm:pt modelId="{9C9BCE21-8971-4521-8347-1E3C26F599EF}" type="pres">
      <dgm:prSet presAssocID="{0DF891FD-6EE3-423C-9C7A-E869CC176780}" presName="ChildAccent" presStyleLbl="solidFgAcc1" presStyleIdx="1" presStyleCnt="4" custLinFactY="-87936" custLinFactNeighborX="28817" custLinFactNeighborY="-100000"/>
      <dgm:spPr>
        <a:solidFill>
          <a:schemeClr val="bg2">
            <a:lumMod val="90000"/>
          </a:schemeClr>
        </a:solidFill>
        <a:ln>
          <a:solidFill>
            <a:srgbClr val="00B050"/>
          </a:solidFill>
        </a:ln>
      </dgm:spPr>
    </dgm:pt>
    <dgm:pt modelId="{A86A3E1A-7709-495E-A0D6-0BB4E589426C}" type="pres">
      <dgm:prSet presAssocID="{0DF891FD-6EE3-423C-9C7A-E869CC176780}" presName="Child" presStyleLbl="revTx" presStyleIdx="2" presStyleCnt="5" custLinFactNeighborX="4580" custLinFactNeighborY="-78655">
        <dgm:presLayoutVars>
          <dgm:chMax val="0"/>
          <dgm:chPref val="0"/>
          <dgm:bulletEnabled val="1"/>
        </dgm:presLayoutVars>
      </dgm:prSet>
      <dgm:spPr/>
    </dgm:pt>
    <dgm:pt modelId="{2436BCD5-FBF0-4F2C-ACFE-15B3548DE597}" type="pres">
      <dgm:prSet presAssocID="{A00A8B75-0C0E-40E4-9998-B09DF5EB0C0E}" presName="childComposite" presStyleCnt="0">
        <dgm:presLayoutVars>
          <dgm:chMax val="0"/>
          <dgm:chPref val="0"/>
        </dgm:presLayoutVars>
      </dgm:prSet>
      <dgm:spPr/>
    </dgm:pt>
    <dgm:pt modelId="{64F9371C-8BD9-4F0D-9B2F-20C39C41C1FD}" type="pres">
      <dgm:prSet presAssocID="{A00A8B75-0C0E-40E4-9998-B09DF5EB0C0E}" presName="ChildAccent" presStyleLbl="solidFgAcc1" presStyleIdx="2" presStyleCnt="4" custLinFactY="-97379" custLinFactNeighborX="28817" custLinFactNeighborY="-100000"/>
      <dgm:spPr>
        <a:solidFill>
          <a:schemeClr val="bg2">
            <a:lumMod val="90000"/>
          </a:schemeClr>
        </a:solidFill>
        <a:ln>
          <a:solidFill>
            <a:srgbClr val="00B050"/>
          </a:solidFill>
        </a:ln>
      </dgm:spPr>
    </dgm:pt>
    <dgm:pt modelId="{48654CC3-C378-4BAF-8F81-3EEE8F656DBB}" type="pres">
      <dgm:prSet presAssocID="{A00A8B75-0C0E-40E4-9998-B09DF5EB0C0E}" presName="Child" presStyleLbl="revTx" presStyleIdx="3" presStyleCnt="5" custLinFactNeighborX="4581" custLinFactNeighborY="-80156">
        <dgm:presLayoutVars>
          <dgm:chMax val="0"/>
          <dgm:chPref val="0"/>
          <dgm:bulletEnabled val="1"/>
        </dgm:presLayoutVars>
      </dgm:prSet>
      <dgm:spPr/>
    </dgm:pt>
    <dgm:pt modelId="{485E1744-92CD-42F7-8119-00774BB5B47C}" type="pres">
      <dgm:prSet presAssocID="{A4A47406-BBA6-4334-B1E5-D6BE82FA7889}" presName="childComposite" presStyleCnt="0">
        <dgm:presLayoutVars>
          <dgm:chMax val="0"/>
          <dgm:chPref val="0"/>
        </dgm:presLayoutVars>
      </dgm:prSet>
      <dgm:spPr/>
    </dgm:pt>
    <dgm:pt modelId="{997B5A79-731E-45B4-986C-42371BDD415E}" type="pres">
      <dgm:prSet presAssocID="{A4A47406-BBA6-4334-B1E5-D6BE82FA7889}" presName="ChildAccent" presStyleLbl="solidFgAcc1" presStyleIdx="3" presStyleCnt="4" custLinFactY="-100000" custLinFactNeighborX="28817" custLinFactNeighborY="-119279"/>
      <dgm:spPr>
        <a:solidFill>
          <a:schemeClr val="bg2">
            <a:lumMod val="90000"/>
          </a:schemeClr>
        </a:solidFill>
        <a:ln>
          <a:solidFill>
            <a:srgbClr val="00B050"/>
          </a:solidFill>
        </a:ln>
      </dgm:spPr>
    </dgm:pt>
    <dgm:pt modelId="{92256A68-452F-43B2-B0CF-03F8EF8C8A86}" type="pres">
      <dgm:prSet presAssocID="{A4A47406-BBA6-4334-B1E5-D6BE82FA7889}" presName="Child" presStyleLbl="revTx" presStyleIdx="4" presStyleCnt="5" custLinFactNeighborX="3995" custLinFactNeighborY="-60991">
        <dgm:presLayoutVars>
          <dgm:chMax val="0"/>
          <dgm:chPref val="0"/>
          <dgm:bulletEnabled val="1"/>
        </dgm:presLayoutVars>
      </dgm:prSet>
      <dgm:spPr/>
    </dgm:pt>
  </dgm:ptLst>
  <dgm:cxnLst>
    <dgm:cxn modelId="{67220218-EB74-434C-8CDA-BCD99CA9A8C6}" type="presOf" srcId="{A00A8B75-0C0E-40E4-9998-B09DF5EB0C0E}" destId="{48654CC3-C378-4BAF-8F81-3EEE8F656DBB}" srcOrd="0" destOrd="0" presId="urn:microsoft.com/office/officeart/2008/layout/SquareAccentList"/>
    <dgm:cxn modelId="{41F9A51A-9D88-4C4D-9E20-143ADB4E2034}" srcId="{7DC11D55-1FD0-4F8D-B483-91C85056065A}" destId="{0DF891FD-6EE3-423C-9C7A-E869CC176780}" srcOrd="1" destOrd="0" parTransId="{580360D4-E75B-4197-B4C7-AAA6213488A6}" sibTransId="{3A7DC581-C0C5-4FAA-A475-9B3D40CB9FF2}"/>
    <dgm:cxn modelId="{BF895725-4B3C-4743-93E3-967F37CEFA76}" type="presOf" srcId="{0E2FE60F-0CFC-4B8C-8B52-46078302B0D6}" destId="{256208BE-7433-46C3-89EE-C0CA42D94FF9}" srcOrd="0" destOrd="0" presId="urn:microsoft.com/office/officeart/2008/layout/SquareAccentList"/>
    <dgm:cxn modelId="{6EB75B34-D670-4BCD-8434-6511B5B52958}" srcId="{7DC11D55-1FD0-4F8D-B483-91C85056065A}" destId="{A00A8B75-0C0E-40E4-9998-B09DF5EB0C0E}" srcOrd="2" destOrd="0" parTransId="{E1B948AD-F1B3-40C8-AD17-29EAFD2E1515}" sibTransId="{6E56B80D-4603-4E55-B28C-C0B2C890094A}"/>
    <dgm:cxn modelId="{6A5E6D5F-0836-4E72-B0D9-93A5963EA47A}" srcId="{7DC11D55-1FD0-4F8D-B483-91C85056065A}" destId="{99340C71-E668-4716-BD26-B89454B713C4}" srcOrd="0" destOrd="0" parTransId="{5252F438-763B-48B5-8875-0B51D8E409D1}" sibTransId="{364F5BFB-CF9B-4B6E-A821-31B1045722C5}"/>
    <dgm:cxn modelId="{633A467A-1ADE-4E6E-8A59-7415C4D5AEE8}" type="presOf" srcId="{7DC11D55-1FD0-4F8D-B483-91C85056065A}" destId="{0B857F97-473A-4239-9A96-8F13497FD56B}" srcOrd="0" destOrd="0" presId="urn:microsoft.com/office/officeart/2008/layout/SquareAccentList"/>
    <dgm:cxn modelId="{82624585-5AE7-4294-B476-1119DD72B893}" srcId="{0E2FE60F-0CFC-4B8C-8B52-46078302B0D6}" destId="{7DC11D55-1FD0-4F8D-B483-91C85056065A}" srcOrd="0" destOrd="0" parTransId="{0A2B336A-586B-49CE-8C51-703C8E4128AF}" sibTransId="{EAF7AD2F-BB5B-45A0-A5CB-F093F7CA51DD}"/>
    <dgm:cxn modelId="{E8324496-379A-4976-93E5-F1366868B785}" type="presOf" srcId="{A4A47406-BBA6-4334-B1E5-D6BE82FA7889}" destId="{92256A68-452F-43B2-B0CF-03F8EF8C8A86}" srcOrd="0" destOrd="0" presId="urn:microsoft.com/office/officeart/2008/layout/SquareAccentList"/>
    <dgm:cxn modelId="{E4A37FBB-7203-4EB8-AC71-2F6C65D7B957}" type="presOf" srcId="{0DF891FD-6EE3-423C-9C7A-E869CC176780}" destId="{A86A3E1A-7709-495E-A0D6-0BB4E589426C}" srcOrd="0" destOrd="0" presId="urn:microsoft.com/office/officeart/2008/layout/SquareAccentList"/>
    <dgm:cxn modelId="{A2BA72C2-5AB0-4A2E-939C-E43CE2C2CA9B}" srcId="{7DC11D55-1FD0-4F8D-B483-91C85056065A}" destId="{A4A47406-BBA6-4334-B1E5-D6BE82FA7889}" srcOrd="3" destOrd="0" parTransId="{A643B19D-AA30-4878-8ABB-6D5C7886184F}" sibTransId="{4C103627-C53A-4393-9244-9D6135051C84}"/>
    <dgm:cxn modelId="{45247FCD-3485-4A6A-917C-38279ECAE155}" type="presOf" srcId="{99340C71-E668-4716-BD26-B89454B713C4}" destId="{AAFA5E3E-85E9-4BCA-B80D-639B2AC53C26}" srcOrd="0" destOrd="0" presId="urn:microsoft.com/office/officeart/2008/layout/SquareAccentList"/>
    <dgm:cxn modelId="{3B34D5F0-3827-4923-9D99-77125235D2A8}" type="presParOf" srcId="{256208BE-7433-46C3-89EE-C0CA42D94FF9}" destId="{F5655B47-72BA-4258-B2B0-C700B0F38313}" srcOrd="0" destOrd="0" presId="urn:microsoft.com/office/officeart/2008/layout/SquareAccentList"/>
    <dgm:cxn modelId="{DA3BDBF5-60BB-4AC1-9121-42026AF9B4A4}" type="presParOf" srcId="{F5655B47-72BA-4258-B2B0-C700B0F38313}" destId="{9FBF3018-BD7C-4EF3-9AD5-737CB53BEFB0}" srcOrd="0" destOrd="0" presId="urn:microsoft.com/office/officeart/2008/layout/SquareAccentList"/>
    <dgm:cxn modelId="{C16AA8BA-D06A-47CB-AE91-42389C62288F}" type="presParOf" srcId="{9FBF3018-BD7C-4EF3-9AD5-737CB53BEFB0}" destId="{8265907D-AAFC-4E1D-90C1-5AE3FA23F5BF}" srcOrd="0" destOrd="0" presId="urn:microsoft.com/office/officeart/2008/layout/SquareAccentList"/>
    <dgm:cxn modelId="{C03ACBFC-9B68-4F87-BFB1-553AEB0582A5}" type="presParOf" srcId="{9FBF3018-BD7C-4EF3-9AD5-737CB53BEFB0}" destId="{D16A09FA-21E4-4E47-B941-D8845F65804A}" srcOrd="1" destOrd="0" presId="urn:microsoft.com/office/officeart/2008/layout/SquareAccentList"/>
    <dgm:cxn modelId="{71312ACE-9192-4E60-A0B5-8E9BEEA5C65C}" type="presParOf" srcId="{9FBF3018-BD7C-4EF3-9AD5-737CB53BEFB0}" destId="{0B857F97-473A-4239-9A96-8F13497FD56B}" srcOrd="2" destOrd="0" presId="urn:microsoft.com/office/officeart/2008/layout/SquareAccentList"/>
    <dgm:cxn modelId="{181235B6-6F2F-4894-8E99-89687D5E3F7D}" type="presParOf" srcId="{F5655B47-72BA-4258-B2B0-C700B0F38313}" destId="{FE685985-043A-42F5-A19F-1168BE13054F}" srcOrd="1" destOrd="0" presId="urn:microsoft.com/office/officeart/2008/layout/SquareAccentList"/>
    <dgm:cxn modelId="{291DD58E-CECA-4770-804F-0ABFD181FA5D}" type="presParOf" srcId="{FE685985-043A-42F5-A19F-1168BE13054F}" destId="{9C9B8B2A-21C1-434F-8118-07D7C2A37392}" srcOrd="0" destOrd="0" presId="urn:microsoft.com/office/officeart/2008/layout/SquareAccentList"/>
    <dgm:cxn modelId="{3F6A6EDC-AB18-438A-A70D-3F572BFDBB92}" type="presParOf" srcId="{9C9B8B2A-21C1-434F-8118-07D7C2A37392}" destId="{432F9DCA-AC7A-4689-AD84-7A25E07B3928}" srcOrd="0" destOrd="0" presId="urn:microsoft.com/office/officeart/2008/layout/SquareAccentList"/>
    <dgm:cxn modelId="{CEC3E559-F90A-4725-8F3F-D6E596B1ABA9}" type="presParOf" srcId="{9C9B8B2A-21C1-434F-8118-07D7C2A37392}" destId="{AAFA5E3E-85E9-4BCA-B80D-639B2AC53C26}" srcOrd="1" destOrd="0" presId="urn:microsoft.com/office/officeart/2008/layout/SquareAccentList"/>
    <dgm:cxn modelId="{DEDA43B7-D4BD-470F-BB58-B57BBCAF9DA6}" type="presParOf" srcId="{FE685985-043A-42F5-A19F-1168BE13054F}" destId="{1EBF361D-092B-4B48-911A-5931DB146DB6}" srcOrd="1" destOrd="0" presId="urn:microsoft.com/office/officeart/2008/layout/SquareAccentList"/>
    <dgm:cxn modelId="{03FDE2A6-9288-4628-9C15-01874AE26CD3}" type="presParOf" srcId="{1EBF361D-092B-4B48-911A-5931DB146DB6}" destId="{9C9BCE21-8971-4521-8347-1E3C26F599EF}" srcOrd="0" destOrd="0" presId="urn:microsoft.com/office/officeart/2008/layout/SquareAccentList"/>
    <dgm:cxn modelId="{554864B6-AE68-4A46-85BB-9FD7E186EA30}" type="presParOf" srcId="{1EBF361D-092B-4B48-911A-5931DB146DB6}" destId="{A86A3E1A-7709-495E-A0D6-0BB4E589426C}" srcOrd="1" destOrd="0" presId="urn:microsoft.com/office/officeart/2008/layout/SquareAccentList"/>
    <dgm:cxn modelId="{22B4CE40-D730-4752-9CD4-AF2A8420A8E4}" type="presParOf" srcId="{FE685985-043A-42F5-A19F-1168BE13054F}" destId="{2436BCD5-FBF0-4F2C-ACFE-15B3548DE597}" srcOrd="2" destOrd="0" presId="urn:microsoft.com/office/officeart/2008/layout/SquareAccentList"/>
    <dgm:cxn modelId="{0BBCDCCE-4658-426F-B058-47529145AEF6}" type="presParOf" srcId="{2436BCD5-FBF0-4F2C-ACFE-15B3548DE597}" destId="{64F9371C-8BD9-4F0D-9B2F-20C39C41C1FD}" srcOrd="0" destOrd="0" presId="urn:microsoft.com/office/officeart/2008/layout/SquareAccentList"/>
    <dgm:cxn modelId="{F3195B2A-026F-4F64-A78A-3C2B4DD9FA03}" type="presParOf" srcId="{2436BCD5-FBF0-4F2C-ACFE-15B3548DE597}" destId="{48654CC3-C378-4BAF-8F81-3EEE8F656DBB}" srcOrd="1" destOrd="0" presId="urn:microsoft.com/office/officeart/2008/layout/SquareAccentList"/>
    <dgm:cxn modelId="{DB6D3B2F-E120-46A3-9705-3319ED68D062}" type="presParOf" srcId="{FE685985-043A-42F5-A19F-1168BE13054F}" destId="{485E1744-92CD-42F7-8119-00774BB5B47C}" srcOrd="3" destOrd="0" presId="urn:microsoft.com/office/officeart/2008/layout/SquareAccentList"/>
    <dgm:cxn modelId="{95223CC8-AC78-4B9C-8BC1-5CBCF94DD59B}" type="presParOf" srcId="{485E1744-92CD-42F7-8119-00774BB5B47C}" destId="{997B5A79-731E-45B4-986C-42371BDD415E}" srcOrd="0" destOrd="0" presId="urn:microsoft.com/office/officeart/2008/layout/SquareAccentList"/>
    <dgm:cxn modelId="{F2724A3D-8628-447E-800C-44CD078B0420}" type="presParOf" srcId="{485E1744-92CD-42F7-8119-00774BB5B47C}" destId="{92256A68-452F-43B2-B0CF-03F8EF8C8A86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237480-EA0E-4CAF-9482-7C2C8A60224A}" type="doc">
      <dgm:prSet loTypeId="urn:microsoft.com/office/officeart/2009/3/layout/SubSte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3332CDC4-6632-4D08-BEC0-B817FEF9A8C0}">
      <dgm:prSet phldrT="[Testo]"/>
      <dgm:spPr>
        <a:solidFill>
          <a:srgbClr val="0066CC"/>
        </a:solidFill>
        <a:ln w="38100">
          <a:solidFill>
            <a:srgbClr val="0066CC"/>
          </a:solidFill>
        </a:ln>
      </dgm:spPr>
      <dgm:t>
        <a:bodyPr/>
        <a:lstStyle/>
        <a:p>
          <a:r>
            <a:rPr lang="it-IT" dirty="0">
              <a:solidFill>
                <a:schemeClr val="bg1"/>
              </a:solidFill>
            </a:rPr>
            <a:t>Beni strumentali materiali e immateriali strumentali tecnologicamente avanzati (A+B)</a:t>
          </a:r>
        </a:p>
      </dgm:t>
    </dgm:pt>
    <dgm:pt modelId="{2411725C-5B3B-4E65-AAE2-43DA313F7F48}" type="parTrans" cxnId="{DA9C43B0-115C-4053-8A7B-B5656ECC123E}">
      <dgm:prSet/>
      <dgm:spPr/>
      <dgm:t>
        <a:bodyPr/>
        <a:lstStyle/>
        <a:p>
          <a:endParaRPr lang="it-IT"/>
        </a:p>
      </dgm:t>
    </dgm:pt>
    <dgm:pt modelId="{4E4CF1C2-19BF-4ABC-8CC1-3D6FE3191355}" type="sibTrans" cxnId="{DA9C43B0-115C-4053-8A7B-B5656ECC123E}">
      <dgm:prSet/>
      <dgm:spPr/>
      <dgm:t>
        <a:bodyPr/>
        <a:lstStyle/>
        <a:p>
          <a:endParaRPr lang="it-IT"/>
        </a:p>
      </dgm:t>
    </dgm:pt>
    <dgm:pt modelId="{491E9E89-1001-4F53-A38B-912175FF9500}">
      <dgm:prSet phldrT="[Testo]"/>
      <dgm:spPr/>
      <dgm:t>
        <a:bodyPr/>
        <a:lstStyle/>
        <a:p>
          <a:r>
            <a:rPr lang="it-IT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rPr>
            <a:t>Riduzione dei consumi energetici</a:t>
          </a:r>
          <a:endParaRPr lang="it-IT" dirty="0">
            <a:solidFill>
              <a:srgbClr val="00B050"/>
            </a:solidFill>
          </a:endParaRPr>
        </a:p>
      </dgm:t>
    </dgm:pt>
    <dgm:pt modelId="{1A7FE2E4-3DC5-4C14-8AAD-5A37B43EEFC5}" type="parTrans" cxnId="{00742561-E451-46D3-975A-55F9A001EE1F}">
      <dgm:prSet/>
      <dgm:spPr/>
      <dgm:t>
        <a:bodyPr/>
        <a:lstStyle/>
        <a:p>
          <a:endParaRPr lang="it-IT"/>
        </a:p>
      </dgm:t>
    </dgm:pt>
    <dgm:pt modelId="{AC718BD9-5917-47DD-AB75-554AAA895AEF}" type="sibTrans" cxnId="{00742561-E451-46D3-975A-55F9A001EE1F}">
      <dgm:prSet/>
      <dgm:spPr/>
      <dgm:t>
        <a:bodyPr/>
        <a:lstStyle/>
        <a:p>
          <a:endParaRPr lang="it-IT"/>
        </a:p>
      </dgm:t>
    </dgm:pt>
    <dgm:pt modelId="{D1463918-ABD9-486B-A5C4-3727E590FF27}">
      <dgm:prSet phldrT="[Testo]"/>
      <dgm:spPr>
        <a:solidFill>
          <a:schemeClr val="accent6"/>
        </a:solidFill>
        <a:ln w="38100">
          <a:solidFill>
            <a:schemeClr val="accent6"/>
          </a:solidFill>
        </a:ln>
      </dgm:spPr>
      <dgm:t>
        <a:bodyPr/>
        <a:lstStyle/>
        <a:p>
          <a:r>
            <a:rPr lang="it-IT" dirty="0">
              <a:solidFill>
                <a:schemeClr val="bg1"/>
              </a:solidFill>
            </a:rPr>
            <a:t>Attività di formazione</a:t>
          </a:r>
        </a:p>
      </dgm:t>
    </dgm:pt>
    <dgm:pt modelId="{9A643FCE-71B1-470A-84D6-73550A886F78}" type="parTrans" cxnId="{8D9BA1F5-474F-4E61-B39F-0FDA2136FF46}">
      <dgm:prSet/>
      <dgm:spPr/>
      <dgm:t>
        <a:bodyPr/>
        <a:lstStyle/>
        <a:p>
          <a:endParaRPr lang="it-IT"/>
        </a:p>
      </dgm:t>
    </dgm:pt>
    <dgm:pt modelId="{F12CD8E6-D11E-4BD6-B01D-3C98052BB926}" type="sibTrans" cxnId="{8D9BA1F5-474F-4E61-B39F-0FDA2136FF46}">
      <dgm:prSet/>
      <dgm:spPr/>
      <dgm:t>
        <a:bodyPr/>
        <a:lstStyle/>
        <a:p>
          <a:endParaRPr lang="it-IT"/>
        </a:p>
      </dgm:t>
    </dgm:pt>
    <dgm:pt modelId="{97181824-7A34-4570-BDB8-160FCF28D68D}">
      <dgm:prSet phldrT="[Testo]"/>
      <dgm:spPr>
        <a:solidFill>
          <a:srgbClr val="FAC730"/>
        </a:solidFill>
        <a:ln w="38100">
          <a:solidFill>
            <a:srgbClr val="FAC730"/>
          </a:solidFill>
        </a:ln>
      </dgm:spPr>
      <dgm:t>
        <a:bodyPr/>
        <a:lstStyle/>
        <a:p>
          <a:r>
            <a:rPr lang="it-IT" dirty="0">
              <a:solidFill>
                <a:schemeClr val="bg1"/>
              </a:solidFill>
            </a:rPr>
            <a:t>Beni per autoproduzione e autoconsumo energia da fonti rinnovabili</a:t>
          </a:r>
        </a:p>
      </dgm:t>
    </dgm:pt>
    <dgm:pt modelId="{B850F15F-6306-432B-96B8-153C0AB1C871}" type="parTrans" cxnId="{F2890ED8-504B-4A2B-934F-5EA1DECDA496}">
      <dgm:prSet/>
      <dgm:spPr/>
      <dgm:t>
        <a:bodyPr/>
        <a:lstStyle/>
        <a:p>
          <a:endParaRPr lang="it-IT"/>
        </a:p>
      </dgm:t>
    </dgm:pt>
    <dgm:pt modelId="{0C579D42-FFEF-46C4-9994-EF0CF687497F}" type="sibTrans" cxnId="{F2890ED8-504B-4A2B-934F-5EA1DECDA496}">
      <dgm:prSet/>
      <dgm:spPr/>
      <dgm:t>
        <a:bodyPr/>
        <a:lstStyle/>
        <a:p>
          <a:endParaRPr lang="it-IT"/>
        </a:p>
      </dgm:t>
    </dgm:pt>
    <dgm:pt modelId="{6BB3F7C4-BEDE-4C68-ACB3-FFA0A571F56E}">
      <dgm:prSet phldrT="[Testo]"/>
      <dgm:spPr>
        <a:solidFill>
          <a:srgbClr val="00B050">
            <a:alpha val="35000"/>
          </a:srgbClr>
        </a:solidFill>
        <a:ln w="38100">
          <a:noFill/>
        </a:ln>
      </dgm:spPr>
      <dgm:t>
        <a:bodyPr/>
        <a:lstStyle/>
        <a:p>
          <a:endParaRPr lang="it-IT" dirty="0">
            <a:solidFill>
              <a:schemeClr val="bg1"/>
            </a:solidFill>
          </a:endParaRPr>
        </a:p>
      </dgm:t>
    </dgm:pt>
    <dgm:pt modelId="{C9112272-2052-4FB7-8989-EF7B65558B2E}" type="parTrans" cxnId="{3AE783BE-4CEB-43BB-85C2-A0C33E27C9C5}">
      <dgm:prSet/>
      <dgm:spPr/>
      <dgm:t>
        <a:bodyPr/>
        <a:lstStyle/>
        <a:p>
          <a:endParaRPr lang="it-IT"/>
        </a:p>
      </dgm:t>
    </dgm:pt>
    <dgm:pt modelId="{865C7B30-01B5-4871-828D-F5FD41C62C43}" type="sibTrans" cxnId="{3AE783BE-4CEB-43BB-85C2-A0C33E27C9C5}">
      <dgm:prSet/>
      <dgm:spPr/>
      <dgm:t>
        <a:bodyPr/>
        <a:lstStyle/>
        <a:p>
          <a:endParaRPr lang="it-IT"/>
        </a:p>
      </dgm:t>
    </dgm:pt>
    <dgm:pt modelId="{4CD4194B-7C50-4E8B-8026-2FC2A0ECD24A}">
      <dgm:prSet phldrT="[Testo]"/>
      <dgm:spPr/>
      <dgm:t>
        <a:bodyPr/>
        <a:lstStyle/>
        <a:p>
          <a:r>
            <a:rPr lang="it-IT" altLang="it-IT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  <a:cs typeface="Tahoma" panose="020B0604030504040204" pitchFamily="34" charset="0"/>
            </a:rPr>
            <a:t>almeno 3% per unità produttiva o 5% per processo</a:t>
          </a:r>
          <a:endParaRPr lang="it-IT" dirty="0">
            <a:solidFill>
              <a:srgbClr val="00B050"/>
            </a:solidFill>
          </a:endParaRPr>
        </a:p>
      </dgm:t>
    </dgm:pt>
    <dgm:pt modelId="{0E627500-5E95-486D-951E-6C8E0E2132F4}" type="sibTrans" cxnId="{0396BE79-840A-44C0-9A98-15E7C90DAA56}">
      <dgm:prSet/>
      <dgm:spPr/>
      <dgm:t>
        <a:bodyPr/>
        <a:lstStyle/>
        <a:p>
          <a:endParaRPr lang="it-IT"/>
        </a:p>
      </dgm:t>
    </dgm:pt>
    <dgm:pt modelId="{2362D53A-04E1-4E24-95BA-53529AF8E564}" type="parTrans" cxnId="{0396BE79-840A-44C0-9A98-15E7C90DAA56}">
      <dgm:prSet/>
      <dgm:spPr/>
      <dgm:t>
        <a:bodyPr/>
        <a:lstStyle/>
        <a:p>
          <a:endParaRPr lang="it-IT"/>
        </a:p>
      </dgm:t>
    </dgm:pt>
    <dgm:pt modelId="{EE19B0FB-0D4C-405C-BBD1-1E77244C5267}" type="pres">
      <dgm:prSet presAssocID="{EF237480-EA0E-4CAF-9482-7C2C8A60224A}" presName="Name0" presStyleCnt="0">
        <dgm:presLayoutVars>
          <dgm:chMax val="7"/>
          <dgm:dir/>
          <dgm:animOne val="branch"/>
        </dgm:presLayoutVars>
      </dgm:prSet>
      <dgm:spPr/>
    </dgm:pt>
    <dgm:pt modelId="{0800F31A-A899-4B6E-9878-2DBAF615ED61}" type="pres">
      <dgm:prSet presAssocID="{3332CDC4-6632-4D08-BEC0-B817FEF9A8C0}" presName="parTx1" presStyleLbl="node1" presStyleIdx="0" presStyleCnt="4" custScaleX="109244" custScaleY="143810" custLinFactNeighborX="-12509" custLinFactNeighborY="1396"/>
      <dgm:spPr>
        <a:prstGeom prst="roundRect">
          <a:avLst/>
        </a:prstGeom>
      </dgm:spPr>
    </dgm:pt>
    <dgm:pt modelId="{308CC2DF-22F6-49CE-9E6E-CB8D43A48DDF}" type="pres">
      <dgm:prSet presAssocID="{3332CDC4-6632-4D08-BEC0-B817FEF9A8C0}" presName="spPre1" presStyleCnt="0"/>
      <dgm:spPr/>
    </dgm:pt>
    <dgm:pt modelId="{DCFE220B-3E55-42EC-AAE2-5CF5357DAC96}" type="pres">
      <dgm:prSet presAssocID="{3332CDC4-6632-4D08-BEC0-B817FEF9A8C0}" presName="chLin1" presStyleCnt="0"/>
      <dgm:spPr/>
    </dgm:pt>
    <dgm:pt modelId="{2F58F0E2-D74E-4A93-9338-2FC6E4C5046C}" type="pres">
      <dgm:prSet presAssocID="{1A7FE2E4-3DC5-4C14-8AAD-5A37B43EEFC5}" presName="Name11" presStyleLbl="parChTrans1D1" presStyleIdx="0" presStyleCnt="8"/>
      <dgm:spPr>
        <a:ln w="38100">
          <a:solidFill>
            <a:srgbClr val="00B050"/>
          </a:solidFill>
        </a:ln>
      </dgm:spPr>
    </dgm:pt>
    <dgm:pt modelId="{F3C8C7A9-04C2-4361-9584-A8CAD1FDCC3F}" type="pres">
      <dgm:prSet presAssocID="{1A7FE2E4-3DC5-4C14-8AAD-5A37B43EEFC5}" presName="Name31" presStyleLbl="parChTrans1D1" presStyleIdx="1" presStyleCnt="8"/>
      <dgm:spPr>
        <a:ln w="38100">
          <a:solidFill>
            <a:srgbClr val="00B050"/>
          </a:solidFill>
        </a:ln>
      </dgm:spPr>
    </dgm:pt>
    <dgm:pt modelId="{C5A6FC4C-454F-471C-ADA8-215A2D38CEE7}" type="pres">
      <dgm:prSet presAssocID="{491E9E89-1001-4F53-A38B-912175FF9500}" presName="txAndLines1" presStyleCnt="0"/>
      <dgm:spPr/>
    </dgm:pt>
    <dgm:pt modelId="{D957C7E1-2EC5-4BFF-973F-4DC23F613E47}" type="pres">
      <dgm:prSet presAssocID="{491E9E89-1001-4F53-A38B-912175FF9500}" presName="anchor1" presStyleCnt="0"/>
      <dgm:spPr/>
    </dgm:pt>
    <dgm:pt modelId="{3AEF764E-CFC2-4840-8F56-6B09A7C84016}" type="pres">
      <dgm:prSet presAssocID="{491E9E89-1001-4F53-A38B-912175FF9500}" presName="backup1" presStyleCnt="0"/>
      <dgm:spPr/>
    </dgm:pt>
    <dgm:pt modelId="{E9884A79-AC8D-462F-8317-6558AD0C15BD}" type="pres">
      <dgm:prSet presAssocID="{491E9E89-1001-4F53-A38B-912175FF9500}" presName="preLine1" presStyleLbl="parChTrans1D1" presStyleIdx="2" presStyleCnt="8"/>
      <dgm:spPr>
        <a:ln w="38100">
          <a:solidFill>
            <a:srgbClr val="00B050"/>
          </a:solidFill>
        </a:ln>
      </dgm:spPr>
    </dgm:pt>
    <dgm:pt modelId="{C442925D-CA5F-41C8-8E08-E31D83E4BC15}" type="pres">
      <dgm:prSet presAssocID="{491E9E89-1001-4F53-A38B-912175FF9500}" presName="desTx1" presStyleLbl="revTx" presStyleIdx="0" presStyleCnt="0" custScaleY="104552" custLinFactNeighborX="-3486">
        <dgm:presLayoutVars>
          <dgm:bulletEnabled val="1"/>
        </dgm:presLayoutVars>
      </dgm:prSet>
      <dgm:spPr/>
    </dgm:pt>
    <dgm:pt modelId="{D3428431-5D45-4986-AD91-6198B3366AD1}" type="pres">
      <dgm:prSet presAssocID="{491E9E89-1001-4F53-A38B-912175FF9500}" presName="postLine1" presStyleLbl="parChTrans1D1" presStyleIdx="3" presStyleCnt="8"/>
      <dgm:spPr>
        <a:ln w="38100">
          <a:solidFill>
            <a:srgbClr val="00B050"/>
          </a:solidFill>
        </a:ln>
      </dgm:spPr>
    </dgm:pt>
    <dgm:pt modelId="{4D2F9E06-961D-4DFE-8A57-DE68E69CD6F2}" type="pres">
      <dgm:prSet presAssocID="{2362D53A-04E1-4E24-95BA-53529AF8E564}" presName="Name11" presStyleLbl="parChTrans1D1" presStyleIdx="4" presStyleCnt="8"/>
      <dgm:spPr>
        <a:ln w="38100">
          <a:solidFill>
            <a:srgbClr val="00B050"/>
          </a:solidFill>
        </a:ln>
      </dgm:spPr>
    </dgm:pt>
    <dgm:pt modelId="{82EA3FB4-DFE6-4AF5-9E0A-0AC9936C8429}" type="pres">
      <dgm:prSet presAssocID="{2362D53A-04E1-4E24-95BA-53529AF8E564}" presName="Name31" presStyleLbl="parChTrans1D1" presStyleIdx="5" presStyleCnt="8"/>
      <dgm:spPr>
        <a:ln w="38100">
          <a:solidFill>
            <a:srgbClr val="00B050"/>
          </a:solidFill>
        </a:ln>
      </dgm:spPr>
    </dgm:pt>
    <dgm:pt modelId="{B047DB96-BC11-442E-B129-BCA2C6E6B3A5}" type="pres">
      <dgm:prSet presAssocID="{4CD4194B-7C50-4E8B-8026-2FC2A0ECD24A}" presName="txAndLines1" presStyleCnt="0"/>
      <dgm:spPr/>
    </dgm:pt>
    <dgm:pt modelId="{56744271-E4DF-45DE-92D5-565E13BD882D}" type="pres">
      <dgm:prSet presAssocID="{4CD4194B-7C50-4E8B-8026-2FC2A0ECD24A}" presName="anchor1" presStyleCnt="0"/>
      <dgm:spPr/>
    </dgm:pt>
    <dgm:pt modelId="{C190FC95-D7D3-42F6-B6B6-60EBA43BF97E}" type="pres">
      <dgm:prSet presAssocID="{4CD4194B-7C50-4E8B-8026-2FC2A0ECD24A}" presName="backup1" presStyleCnt="0"/>
      <dgm:spPr/>
    </dgm:pt>
    <dgm:pt modelId="{006058D9-6A05-482A-A862-86F68B900DC4}" type="pres">
      <dgm:prSet presAssocID="{4CD4194B-7C50-4E8B-8026-2FC2A0ECD24A}" presName="preLine1" presStyleLbl="parChTrans1D1" presStyleIdx="6" presStyleCnt="8"/>
      <dgm:spPr>
        <a:ln w="38100">
          <a:solidFill>
            <a:srgbClr val="00B050"/>
          </a:solidFill>
        </a:ln>
      </dgm:spPr>
    </dgm:pt>
    <dgm:pt modelId="{CE5D74C0-8A8B-4114-ABCD-849F01C0D05C}" type="pres">
      <dgm:prSet presAssocID="{4CD4194B-7C50-4E8B-8026-2FC2A0ECD24A}" presName="desTx1" presStyleLbl="revTx" presStyleIdx="0" presStyleCnt="0">
        <dgm:presLayoutVars>
          <dgm:bulletEnabled val="1"/>
        </dgm:presLayoutVars>
      </dgm:prSet>
      <dgm:spPr/>
    </dgm:pt>
    <dgm:pt modelId="{C480CCB8-AD3C-406D-8B93-0C37F33FB5AE}" type="pres">
      <dgm:prSet presAssocID="{4CD4194B-7C50-4E8B-8026-2FC2A0ECD24A}" presName="postLine1" presStyleLbl="parChTrans1D1" presStyleIdx="7" presStyleCnt="8"/>
      <dgm:spPr>
        <a:ln w="38100">
          <a:solidFill>
            <a:srgbClr val="00B050"/>
          </a:solidFill>
        </a:ln>
      </dgm:spPr>
    </dgm:pt>
    <dgm:pt modelId="{626F2E04-8DA8-408D-93AD-0E96E5F1D638}" type="pres">
      <dgm:prSet presAssocID="{3332CDC4-6632-4D08-BEC0-B817FEF9A8C0}" presName="spPost1" presStyleCnt="0"/>
      <dgm:spPr/>
    </dgm:pt>
    <dgm:pt modelId="{8C763FB3-668C-451C-8082-EA54BABB8406}" type="pres">
      <dgm:prSet presAssocID="{D1463918-ABD9-486B-A5C4-3727E590FF27}" presName="parTx2" presStyleLbl="node1" presStyleIdx="1" presStyleCnt="4" custScaleX="69378" custScaleY="131658" custLinFactNeighborY="1104"/>
      <dgm:spPr>
        <a:prstGeom prst="flowChartAlternateProcess">
          <a:avLst/>
        </a:prstGeom>
      </dgm:spPr>
    </dgm:pt>
    <dgm:pt modelId="{2A29C0C7-3E32-4A62-A7BE-51EC6B27B4CD}" type="pres">
      <dgm:prSet presAssocID="{97181824-7A34-4570-BDB8-160FCF28D68D}" presName="parTx3" presStyleLbl="node1" presStyleIdx="2" presStyleCnt="4" custScaleX="73067" custScaleY="131658" custLinFactNeighborX="4255" custLinFactNeighborY="1237"/>
      <dgm:spPr>
        <a:prstGeom prst="flowChartAlternateProcess">
          <a:avLst/>
        </a:prstGeom>
      </dgm:spPr>
    </dgm:pt>
    <dgm:pt modelId="{5FC5688E-B665-4957-A53F-7A8517206CB2}" type="pres">
      <dgm:prSet presAssocID="{6BB3F7C4-BEDE-4C68-ACB3-FFA0A571F56E}" presName="parTx4" presStyleLbl="node1" presStyleIdx="3" presStyleCnt="4" custScaleX="77800" custScaleY="91386" custLinFactX="-100000" custLinFactNeighborX="-161451" custLinFactNeighborY="1541"/>
      <dgm:spPr>
        <a:prstGeom prst="flowChartAlternateProcess">
          <a:avLst/>
        </a:prstGeom>
      </dgm:spPr>
    </dgm:pt>
  </dgm:ptLst>
  <dgm:cxnLst>
    <dgm:cxn modelId="{9337B83C-F36D-453D-BB7A-D1752D0A1762}" type="presOf" srcId="{3332CDC4-6632-4D08-BEC0-B817FEF9A8C0}" destId="{0800F31A-A899-4B6E-9878-2DBAF615ED61}" srcOrd="0" destOrd="0" presId="urn:microsoft.com/office/officeart/2009/3/layout/SubStepProcess"/>
    <dgm:cxn modelId="{00742561-E451-46D3-975A-55F9A001EE1F}" srcId="{3332CDC4-6632-4D08-BEC0-B817FEF9A8C0}" destId="{491E9E89-1001-4F53-A38B-912175FF9500}" srcOrd="0" destOrd="0" parTransId="{1A7FE2E4-3DC5-4C14-8AAD-5A37B43EEFC5}" sibTransId="{AC718BD9-5917-47DD-AB75-554AAA895AEF}"/>
    <dgm:cxn modelId="{5298364F-E656-4E82-A234-2E72206EAC30}" type="presOf" srcId="{EF237480-EA0E-4CAF-9482-7C2C8A60224A}" destId="{EE19B0FB-0D4C-405C-BBD1-1E77244C5267}" srcOrd="0" destOrd="0" presId="urn:microsoft.com/office/officeart/2009/3/layout/SubStepProcess"/>
    <dgm:cxn modelId="{8F00A04F-B935-427C-A011-5AACD5C931C9}" type="presOf" srcId="{97181824-7A34-4570-BDB8-160FCF28D68D}" destId="{2A29C0C7-3E32-4A62-A7BE-51EC6B27B4CD}" srcOrd="0" destOrd="0" presId="urn:microsoft.com/office/officeart/2009/3/layout/SubStepProcess"/>
    <dgm:cxn modelId="{7931B057-BA52-4A14-A4B6-FEAB9E5653D3}" type="presOf" srcId="{4CD4194B-7C50-4E8B-8026-2FC2A0ECD24A}" destId="{CE5D74C0-8A8B-4114-ABCD-849F01C0D05C}" srcOrd="0" destOrd="0" presId="urn:microsoft.com/office/officeart/2009/3/layout/SubStepProcess"/>
    <dgm:cxn modelId="{0396BE79-840A-44C0-9A98-15E7C90DAA56}" srcId="{3332CDC4-6632-4D08-BEC0-B817FEF9A8C0}" destId="{4CD4194B-7C50-4E8B-8026-2FC2A0ECD24A}" srcOrd="1" destOrd="0" parTransId="{2362D53A-04E1-4E24-95BA-53529AF8E564}" sibTransId="{0E627500-5E95-486D-951E-6C8E0E2132F4}"/>
    <dgm:cxn modelId="{7737DD96-CD8B-4E3B-A495-AED240FFB5F0}" type="presOf" srcId="{6BB3F7C4-BEDE-4C68-ACB3-FFA0A571F56E}" destId="{5FC5688E-B665-4957-A53F-7A8517206CB2}" srcOrd="0" destOrd="0" presId="urn:microsoft.com/office/officeart/2009/3/layout/SubStepProcess"/>
    <dgm:cxn modelId="{E253F1AD-60B8-4BF8-A50A-43BBF2AAE72B}" type="presOf" srcId="{D1463918-ABD9-486B-A5C4-3727E590FF27}" destId="{8C763FB3-668C-451C-8082-EA54BABB8406}" srcOrd="0" destOrd="0" presId="urn:microsoft.com/office/officeart/2009/3/layout/SubStepProcess"/>
    <dgm:cxn modelId="{DA9C43B0-115C-4053-8A7B-B5656ECC123E}" srcId="{EF237480-EA0E-4CAF-9482-7C2C8A60224A}" destId="{3332CDC4-6632-4D08-BEC0-B817FEF9A8C0}" srcOrd="0" destOrd="0" parTransId="{2411725C-5B3B-4E65-AAE2-43DA313F7F48}" sibTransId="{4E4CF1C2-19BF-4ABC-8CC1-3D6FE3191355}"/>
    <dgm:cxn modelId="{3AE783BE-4CEB-43BB-85C2-A0C33E27C9C5}" srcId="{EF237480-EA0E-4CAF-9482-7C2C8A60224A}" destId="{6BB3F7C4-BEDE-4C68-ACB3-FFA0A571F56E}" srcOrd="3" destOrd="0" parTransId="{C9112272-2052-4FB7-8989-EF7B65558B2E}" sibTransId="{865C7B30-01B5-4871-828D-F5FD41C62C43}"/>
    <dgm:cxn modelId="{F2890ED8-504B-4A2B-934F-5EA1DECDA496}" srcId="{EF237480-EA0E-4CAF-9482-7C2C8A60224A}" destId="{97181824-7A34-4570-BDB8-160FCF28D68D}" srcOrd="2" destOrd="0" parTransId="{B850F15F-6306-432B-96B8-153C0AB1C871}" sibTransId="{0C579D42-FFEF-46C4-9994-EF0CF687497F}"/>
    <dgm:cxn modelId="{7177A1D8-D10F-4040-90B8-B831B755DBEE}" type="presOf" srcId="{491E9E89-1001-4F53-A38B-912175FF9500}" destId="{C442925D-CA5F-41C8-8E08-E31D83E4BC15}" srcOrd="0" destOrd="0" presId="urn:microsoft.com/office/officeart/2009/3/layout/SubStepProcess"/>
    <dgm:cxn modelId="{8D9BA1F5-474F-4E61-B39F-0FDA2136FF46}" srcId="{EF237480-EA0E-4CAF-9482-7C2C8A60224A}" destId="{D1463918-ABD9-486B-A5C4-3727E590FF27}" srcOrd="1" destOrd="0" parTransId="{9A643FCE-71B1-470A-84D6-73550A886F78}" sibTransId="{F12CD8E6-D11E-4BD6-B01D-3C98052BB926}"/>
    <dgm:cxn modelId="{98E499EE-129A-4485-9CDF-FEF2C37447A0}" type="presParOf" srcId="{EE19B0FB-0D4C-405C-BBD1-1E77244C5267}" destId="{0800F31A-A899-4B6E-9878-2DBAF615ED61}" srcOrd="0" destOrd="0" presId="urn:microsoft.com/office/officeart/2009/3/layout/SubStepProcess"/>
    <dgm:cxn modelId="{D555C209-5B88-4272-A344-543BE9222920}" type="presParOf" srcId="{EE19B0FB-0D4C-405C-BBD1-1E77244C5267}" destId="{308CC2DF-22F6-49CE-9E6E-CB8D43A48DDF}" srcOrd="1" destOrd="0" presId="urn:microsoft.com/office/officeart/2009/3/layout/SubStepProcess"/>
    <dgm:cxn modelId="{DDCA9FE7-96B1-44F1-86E9-C956450E1799}" type="presParOf" srcId="{EE19B0FB-0D4C-405C-BBD1-1E77244C5267}" destId="{DCFE220B-3E55-42EC-AAE2-5CF5357DAC96}" srcOrd="2" destOrd="0" presId="urn:microsoft.com/office/officeart/2009/3/layout/SubStepProcess"/>
    <dgm:cxn modelId="{241919A4-C144-4AE0-A753-DAB0CEBCC30C}" type="presParOf" srcId="{DCFE220B-3E55-42EC-AAE2-5CF5357DAC96}" destId="{2F58F0E2-D74E-4A93-9338-2FC6E4C5046C}" srcOrd="0" destOrd="0" presId="urn:microsoft.com/office/officeart/2009/3/layout/SubStepProcess"/>
    <dgm:cxn modelId="{DB2611C9-49F4-4F79-8D71-1E956E8968BD}" type="presParOf" srcId="{DCFE220B-3E55-42EC-AAE2-5CF5357DAC96}" destId="{F3C8C7A9-04C2-4361-9584-A8CAD1FDCC3F}" srcOrd="1" destOrd="0" presId="urn:microsoft.com/office/officeart/2009/3/layout/SubStepProcess"/>
    <dgm:cxn modelId="{EC79A48C-3BAD-4A9F-B471-F6B4A10842AE}" type="presParOf" srcId="{DCFE220B-3E55-42EC-AAE2-5CF5357DAC96}" destId="{C5A6FC4C-454F-471C-ADA8-215A2D38CEE7}" srcOrd="2" destOrd="0" presId="urn:microsoft.com/office/officeart/2009/3/layout/SubStepProcess"/>
    <dgm:cxn modelId="{18BA4D54-A55C-4C25-9505-A835BBB99CDA}" type="presParOf" srcId="{C5A6FC4C-454F-471C-ADA8-215A2D38CEE7}" destId="{D957C7E1-2EC5-4BFF-973F-4DC23F613E47}" srcOrd="0" destOrd="0" presId="urn:microsoft.com/office/officeart/2009/3/layout/SubStepProcess"/>
    <dgm:cxn modelId="{30351AAB-AA73-4E9E-846B-F4B8BF2F1827}" type="presParOf" srcId="{C5A6FC4C-454F-471C-ADA8-215A2D38CEE7}" destId="{3AEF764E-CFC2-4840-8F56-6B09A7C84016}" srcOrd="1" destOrd="0" presId="urn:microsoft.com/office/officeart/2009/3/layout/SubStepProcess"/>
    <dgm:cxn modelId="{7046B413-144D-4A04-8341-413363E762BD}" type="presParOf" srcId="{C5A6FC4C-454F-471C-ADA8-215A2D38CEE7}" destId="{E9884A79-AC8D-462F-8317-6558AD0C15BD}" srcOrd="2" destOrd="0" presId="urn:microsoft.com/office/officeart/2009/3/layout/SubStepProcess"/>
    <dgm:cxn modelId="{FF551138-8DF8-4D39-BF84-051452944D2D}" type="presParOf" srcId="{C5A6FC4C-454F-471C-ADA8-215A2D38CEE7}" destId="{C442925D-CA5F-41C8-8E08-E31D83E4BC15}" srcOrd="3" destOrd="0" presId="urn:microsoft.com/office/officeart/2009/3/layout/SubStepProcess"/>
    <dgm:cxn modelId="{BDF70181-06A1-420F-9B67-3D4D831B9B73}" type="presParOf" srcId="{C5A6FC4C-454F-471C-ADA8-215A2D38CEE7}" destId="{D3428431-5D45-4986-AD91-6198B3366AD1}" srcOrd="4" destOrd="0" presId="urn:microsoft.com/office/officeart/2009/3/layout/SubStepProcess"/>
    <dgm:cxn modelId="{BDA68EE2-F0AB-4088-B10F-8DD40AE77337}" type="presParOf" srcId="{DCFE220B-3E55-42EC-AAE2-5CF5357DAC96}" destId="{4D2F9E06-961D-4DFE-8A57-DE68E69CD6F2}" srcOrd="3" destOrd="0" presId="urn:microsoft.com/office/officeart/2009/3/layout/SubStepProcess"/>
    <dgm:cxn modelId="{E952E2A1-5393-4FFB-A9C5-3731ACB4B34E}" type="presParOf" srcId="{DCFE220B-3E55-42EC-AAE2-5CF5357DAC96}" destId="{82EA3FB4-DFE6-4AF5-9E0A-0AC9936C8429}" srcOrd="4" destOrd="0" presId="urn:microsoft.com/office/officeart/2009/3/layout/SubStepProcess"/>
    <dgm:cxn modelId="{13753A1D-9181-4151-A4D5-260E3CF8E4A5}" type="presParOf" srcId="{DCFE220B-3E55-42EC-AAE2-5CF5357DAC96}" destId="{B047DB96-BC11-442E-B129-BCA2C6E6B3A5}" srcOrd="5" destOrd="0" presId="urn:microsoft.com/office/officeart/2009/3/layout/SubStepProcess"/>
    <dgm:cxn modelId="{F8B0236B-568D-4FBE-902B-90805A1814B8}" type="presParOf" srcId="{B047DB96-BC11-442E-B129-BCA2C6E6B3A5}" destId="{56744271-E4DF-45DE-92D5-565E13BD882D}" srcOrd="0" destOrd="0" presId="urn:microsoft.com/office/officeart/2009/3/layout/SubStepProcess"/>
    <dgm:cxn modelId="{7C4321E1-7A57-432D-A153-3C62208302CA}" type="presParOf" srcId="{B047DB96-BC11-442E-B129-BCA2C6E6B3A5}" destId="{C190FC95-D7D3-42F6-B6B6-60EBA43BF97E}" srcOrd="1" destOrd="0" presId="urn:microsoft.com/office/officeart/2009/3/layout/SubStepProcess"/>
    <dgm:cxn modelId="{43D7311F-90CC-436E-9B2F-2CCCE264F9EB}" type="presParOf" srcId="{B047DB96-BC11-442E-B129-BCA2C6E6B3A5}" destId="{006058D9-6A05-482A-A862-86F68B900DC4}" srcOrd="2" destOrd="0" presId="urn:microsoft.com/office/officeart/2009/3/layout/SubStepProcess"/>
    <dgm:cxn modelId="{759DCB3A-15B1-450A-9309-363F15E6DE72}" type="presParOf" srcId="{B047DB96-BC11-442E-B129-BCA2C6E6B3A5}" destId="{CE5D74C0-8A8B-4114-ABCD-849F01C0D05C}" srcOrd="3" destOrd="0" presId="urn:microsoft.com/office/officeart/2009/3/layout/SubStepProcess"/>
    <dgm:cxn modelId="{AC6CB878-D806-49D4-B150-DF9A59472EE1}" type="presParOf" srcId="{B047DB96-BC11-442E-B129-BCA2C6E6B3A5}" destId="{C480CCB8-AD3C-406D-8B93-0C37F33FB5AE}" srcOrd="4" destOrd="0" presId="urn:microsoft.com/office/officeart/2009/3/layout/SubStepProcess"/>
    <dgm:cxn modelId="{7F7E2829-12FF-4765-AC56-DDC7CBA85B2F}" type="presParOf" srcId="{EE19B0FB-0D4C-405C-BBD1-1E77244C5267}" destId="{626F2E04-8DA8-408D-93AD-0E96E5F1D638}" srcOrd="3" destOrd="0" presId="urn:microsoft.com/office/officeart/2009/3/layout/SubStepProcess"/>
    <dgm:cxn modelId="{8B034207-B97C-48AE-BB9B-E97E782B28D3}" type="presParOf" srcId="{EE19B0FB-0D4C-405C-BBD1-1E77244C5267}" destId="{8C763FB3-668C-451C-8082-EA54BABB8406}" srcOrd="4" destOrd="0" presId="urn:microsoft.com/office/officeart/2009/3/layout/SubStepProcess"/>
    <dgm:cxn modelId="{F67F0695-2CD9-41A3-AE98-618E3FE33716}" type="presParOf" srcId="{EE19B0FB-0D4C-405C-BBD1-1E77244C5267}" destId="{2A29C0C7-3E32-4A62-A7BE-51EC6B27B4CD}" srcOrd="5" destOrd="0" presId="urn:microsoft.com/office/officeart/2009/3/layout/SubStepProcess"/>
    <dgm:cxn modelId="{6C45F8BD-62F7-434F-A0DE-8C522DFDB487}" type="presParOf" srcId="{EE19B0FB-0D4C-405C-BBD1-1E77244C5267}" destId="{5FC5688E-B665-4957-A53F-7A8517206CB2}" srcOrd="6" destOrd="0" presId="urn:microsoft.com/office/officeart/2009/3/layout/SubStepProces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E3EA630-EF16-44CA-AFB0-A7D832308A2C}" type="doc">
      <dgm:prSet loTypeId="urn:microsoft.com/office/officeart/2009/layout/CircleArrowProcess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8EC0F96-A3AA-41F4-A54F-53A887B54D1B}">
      <dgm:prSet phldrT="[Testo]" custT="1"/>
      <dgm:spPr/>
      <dgm:t>
        <a:bodyPr/>
        <a:lstStyle/>
        <a:p>
          <a:r>
            <a:rPr lang="it-IT" sz="2000" b="1" dirty="0">
              <a:solidFill>
                <a:srgbClr val="0066CC"/>
              </a:solidFill>
            </a:rPr>
            <a:t>Ex post</a:t>
          </a:r>
        </a:p>
      </dgm:t>
    </dgm:pt>
    <dgm:pt modelId="{97079A1A-F4DE-4987-8397-F2B735158E57}" type="parTrans" cxnId="{DF874CDB-8D43-42A8-8C18-BF1DCDA2D3AE}">
      <dgm:prSet/>
      <dgm:spPr/>
      <dgm:t>
        <a:bodyPr/>
        <a:lstStyle/>
        <a:p>
          <a:endParaRPr lang="it-IT"/>
        </a:p>
      </dgm:t>
    </dgm:pt>
    <dgm:pt modelId="{C0D204DA-4690-45AF-8D4A-4D794381AE14}" type="sibTrans" cxnId="{DF874CDB-8D43-42A8-8C18-BF1DCDA2D3AE}">
      <dgm:prSet/>
      <dgm:spPr/>
      <dgm:t>
        <a:bodyPr/>
        <a:lstStyle/>
        <a:p>
          <a:endParaRPr lang="it-IT"/>
        </a:p>
      </dgm:t>
    </dgm:pt>
    <dgm:pt modelId="{0BFC0538-1F22-4DE6-B779-A6F37C641066}">
      <dgm:prSet phldrT="[Testo]" custT="1"/>
      <dgm:spPr/>
      <dgm:t>
        <a:bodyPr/>
        <a:lstStyle/>
        <a:p>
          <a:r>
            <a:rPr lang="it-IT" sz="2000" b="1" dirty="0">
              <a:solidFill>
                <a:srgbClr val="0066CC"/>
              </a:solidFill>
            </a:rPr>
            <a:t>Compensazione credito</a:t>
          </a:r>
        </a:p>
      </dgm:t>
    </dgm:pt>
    <dgm:pt modelId="{DD111186-971C-44CF-9E27-AB2DF7D82783}" type="parTrans" cxnId="{4D393195-2658-4266-A92E-6BA80DFD04BC}">
      <dgm:prSet/>
      <dgm:spPr/>
      <dgm:t>
        <a:bodyPr/>
        <a:lstStyle/>
        <a:p>
          <a:endParaRPr lang="it-IT"/>
        </a:p>
      </dgm:t>
    </dgm:pt>
    <dgm:pt modelId="{A9CBA234-7D0F-42EC-BA67-3BAB1B9079CC}" type="sibTrans" cxnId="{4D393195-2658-4266-A92E-6BA80DFD04BC}">
      <dgm:prSet/>
      <dgm:spPr/>
      <dgm:t>
        <a:bodyPr/>
        <a:lstStyle/>
        <a:p>
          <a:endParaRPr lang="it-IT"/>
        </a:p>
      </dgm:t>
    </dgm:pt>
    <dgm:pt modelId="{3B8897B2-B918-4C6F-A939-9BFFC07DD682}">
      <dgm:prSet phldrT="[Testo]" custT="1"/>
      <dgm:spPr/>
      <dgm:t>
        <a:bodyPr/>
        <a:lstStyle/>
        <a:p>
          <a:r>
            <a:rPr lang="it-IT" sz="2000" b="1" kern="1200" dirty="0">
              <a:solidFill>
                <a:srgbClr val="0066CC"/>
              </a:solidFill>
              <a:latin typeface="Calibri"/>
              <a:ea typeface="+mn-ea"/>
              <a:cs typeface="+mn-cs"/>
            </a:rPr>
            <a:t>Ex ante</a:t>
          </a:r>
        </a:p>
      </dgm:t>
    </dgm:pt>
    <dgm:pt modelId="{F8639C7C-5133-46A9-A865-1B84ACCC935B}" type="sibTrans" cxnId="{64D96FDD-F546-4FB4-B292-90497426C16A}">
      <dgm:prSet/>
      <dgm:spPr/>
      <dgm:t>
        <a:bodyPr/>
        <a:lstStyle/>
        <a:p>
          <a:endParaRPr lang="it-IT"/>
        </a:p>
      </dgm:t>
    </dgm:pt>
    <dgm:pt modelId="{525DFAC6-E7F1-4B62-BCFE-ABAA1B65DB78}" type="parTrans" cxnId="{64D96FDD-F546-4FB4-B292-90497426C16A}">
      <dgm:prSet/>
      <dgm:spPr/>
      <dgm:t>
        <a:bodyPr/>
        <a:lstStyle/>
        <a:p>
          <a:endParaRPr lang="it-IT"/>
        </a:p>
      </dgm:t>
    </dgm:pt>
    <dgm:pt modelId="{368289B5-7C41-442C-AF12-2A39E2FE2D91}" type="pres">
      <dgm:prSet presAssocID="{EE3EA630-EF16-44CA-AFB0-A7D832308A2C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6D5FD724-E313-4DF1-A80B-8BD8A560081D}" type="pres">
      <dgm:prSet presAssocID="{3B8897B2-B918-4C6F-A939-9BFFC07DD682}" presName="Accent1" presStyleCnt="0"/>
      <dgm:spPr/>
    </dgm:pt>
    <dgm:pt modelId="{7AAB536E-636D-4C54-922E-16F0DB133206}" type="pres">
      <dgm:prSet presAssocID="{3B8897B2-B918-4C6F-A939-9BFFC07DD682}" presName="Accent" presStyleLbl="node1" presStyleIdx="0" presStyleCnt="3" custScaleX="111346" custLinFactNeighborX="792" custLinFactNeighborY="-1980"/>
      <dgm:spPr>
        <a:solidFill>
          <a:srgbClr val="00B050"/>
        </a:solidFill>
        <a:ln>
          <a:solidFill>
            <a:srgbClr val="00B050"/>
          </a:solidFill>
        </a:ln>
      </dgm:spPr>
    </dgm:pt>
    <dgm:pt modelId="{CF2D5056-ECB6-4138-9AD1-7B266705BEF3}" type="pres">
      <dgm:prSet presAssocID="{3B8897B2-B918-4C6F-A939-9BFFC07DD682}" presName="Parent1" presStyleLbl="revTx" presStyleIdx="0" presStyleCnt="3" custScaleX="124535" custScaleY="140091" custLinFactNeighborY="-35700">
        <dgm:presLayoutVars>
          <dgm:chMax val="1"/>
          <dgm:chPref val="1"/>
          <dgm:bulletEnabled val="1"/>
        </dgm:presLayoutVars>
      </dgm:prSet>
      <dgm:spPr/>
    </dgm:pt>
    <dgm:pt modelId="{2EFF7A0D-49B3-4CCA-AC3A-B89614DC0F9F}" type="pres">
      <dgm:prSet presAssocID="{D8EC0F96-A3AA-41F4-A54F-53A887B54D1B}" presName="Accent2" presStyleCnt="0"/>
      <dgm:spPr/>
    </dgm:pt>
    <dgm:pt modelId="{68784E5A-F3DF-4B86-9009-28D43527E99B}" type="pres">
      <dgm:prSet presAssocID="{D8EC0F96-A3AA-41F4-A54F-53A887B54D1B}" presName="Accent" presStyleLbl="node1" presStyleIdx="1" presStyleCnt="3" custScaleX="120981" custLinFactNeighborX="792" custLinFactNeighborY="-1980"/>
      <dgm:spPr>
        <a:solidFill>
          <a:srgbClr val="00B050"/>
        </a:solidFill>
      </dgm:spPr>
    </dgm:pt>
    <dgm:pt modelId="{BF7263FB-332A-4967-8507-7A61BE3061EB}" type="pres">
      <dgm:prSet presAssocID="{D8EC0F96-A3AA-41F4-A54F-53A887B54D1B}" presName="Parent2" presStyleLbl="revTx" presStyleIdx="1" presStyleCnt="3" custScaleX="133264" custLinFactNeighborY="-3825">
        <dgm:presLayoutVars>
          <dgm:chMax val="1"/>
          <dgm:chPref val="1"/>
          <dgm:bulletEnabled val="1"/>
        </dgm:presLayoutVars>
      </dgm:prSet>
      <dgm:spPr/>
    </dgm:pt>
    <dgm:pt modelId="{7EDA2E9A-A8B2-428D-B8E6-E6C227E8C931}" type="pres">
      <dgm:prSet presAssocID="{0BFC0538-1F22-4DE6-B779-A6F37C641066}" presName="Accent3" presStyleCnt="0"/>
      <dgm:spPr/>
    </dgm:pt>
    <dgm:pt modelId="{474047B2-CA52-44B9-8B6B-C6E8FD8C697F}" type="pres">
      <dgm:prSet presAssocID="{0BFC0538-1F22-4DE6-B779-A6F37C641066}" presName="Accent" presStyleLbl="node1" presStyleIdx="2" presStyleCnt="3" custScaleX="116774" custLinFactNeighborX="922" custLinFactNeighborY="-2305"/>
      <dgm:spPr>
        <a:solidFill>
          <a:srgbClr val="00B050"/>
        </a:solidFill>
      </dgm:spPr>
    </dgm:pt>
    <dgm:pt modelId="{80A322DE-B7DA-4992-BBFA-B7B728289FC5}" type="pres">
      <dgm:prSet presAssocID="{0BFC0538-1F22-4DE6-B779-A6F37C641066}" presName="Parent3" presStyleLbl="revTx" presStyleIdx="2" presStyleCnt="3" custScaleX="139211">
        <dgm:presLayoutVars>
          <dgm:chMax val="1"/>
          <dgm:chPref val="1"/>
          <dgm:bulletEnabled val="1"/>
        </dgm:presLayoutVars>
      </dgm:prSet>
      <dgm:spPr/>
    </dgm:pt>
  </dgm:ptLst>
  <dgm:cxnLst>
    <dgm:cxn modelId="{87E32355-01B3-48B4-840D-9DBCD5909B17}" type="presOf" srcId="{D8EC0F96-A3AA-41F4-A54F-53A887B54D1B}" destId="{BF7263FB-332A-4967-8507-7A61BE3061EB}" srcOrd="0" destOrd="0" presId="urn:microsoft.com/office/officeart/2009/layout/CircleArrowProcess"/>
    <dgm:cxn modelId="{9775B75A-C768-4AE7-907D-B14A94519D66}" type="presOf" srcId="{0BFC0538-1F22-4DE6-B779-A6F37C641066}" destId="{80A322DE-B7DA-4992-BBFA-B7B728289FC5}" srcOrd="0" destOrd="0" presId="urn:microsoft.com/office/officeart/2009/layout/CircleArrowProcess"/>
    <dgm:cxn modelId="{4D393195-2658-4266-A92E-6BA80DFD04BC}" srcId="{EE3EA630-EF16-44CA-AFB0-A7D832308A2C}" destId="{0BFC0538-1F22-4DE6-B779-A6F37C641066}" srcOrd="2" destOrd="0" parTransId="{DD111186-971C-44CF-9E27-AB2DF7D82783}" sibTransId="{A9CBA234-7D0F-42EC-BA67-3BAB1B9079CC}"/>
    <dgm:cxn modelId="{AC47F699-96AB-422D-8E58-A10E5228E8CE}" type="presOf" srcId="{3B8897B2-B918-4C6F-A939-9BFFC07DD682}" destId="{CF2D5056-ECB6-4138-9AD1-7B266705BEF3}" srcOrd="0" destOrd="0" presId="urn:microsoft.com/office/officeart/2009/layout/CircleArrowProcess"/>
    <dgm:cxn modelId="{36819ECB-9BA3-4736-9357-9F3C80EA7222}" type="presOf" srcId="{EE3EA630-EF16-44CA-AFB0-A7D832308A2C}" destId="{368289B5-7C41-442C-AF12-2A39E2FE2D91}" srcOrd="0" destOrd="0" presId="urn:microsoft.com/office/officeart/2009/layout/CircleArrowProcess"/>
    <dgm:cxn modelId="{DF874CDB-8D43-42A8-8C18-BF1DCDA2D3AE}" srcId="{EE3EA630-EF16-44CA-AFB0-A7D832308A2C}" destId="{D8EC0F96-A3AA-41F4-A54F-53A887B54D1B}" srcOrd="1" destOrd="0" parTransId="{97079A1A-F4DE-4987-8397-F2B735158E57}" sibTransId="{C0D204DA-4690-45AF-8D4A-4D794381AE14}"/>
    <dgm:cxn modelId="{64D96FDD-F546-4FB4-B292-90497426C16A}" srcId="{EE3EA630-EF16-44CA-AFB0-A7D832308A2C}" destId="{3B8897B2-B918-4C6F-A939-9BFFC07DD682}" srcOrd="0" destOrd="0" parTransId="{525DFAC6-E7F1-4B62-BCFE-ABAA1B65DB78}" sibTransId="{F8639C7C-5133-46A9-A865-1B84ACCC935B}"/>
    <dgm:cxn modelId="{BFAAD75F-DCDF-4061-ABC4-CBF38A9F9A76}" type="presParOf" srcId="{368289B5-7C41-442C-AF12-2A39E2FE2D91}" destId="{6D5FD724-E313-4DF1-A80B-8BD8A560081D}" srcOrd="0" destOrd="0" presId="urn:microsoft.com/office/officeart/2009/layout/CircleArrowProcess"/>
    <dgm:cxn modelId="{4CD99988-0A81-49D8-BD7A-5E979991913C}" type="presParOf" srcId="{6D5FD724-E313-4DF1-A80B-8BD8A560081D}" destId="{7AAB536E-636D-4C54-922E-16F0DB133206}" srcOrd="0" destOrd="0" presId="urn:microsoft.com/office/officeart/2009/layout/CircleArrowProcess"/>
    <dgm:cxn modelId="{C4835682-C0F1-4B0C-A97A-898F74B76DC8}" type="presParOf" srcId="{368289B5-7C41-442C-AF12-2A39E2FE2D91}" destId="{CF2D5056-ECB6-4138-9AD1-7B266705BEF3}" srcOrd="1" destOrd="0" presId="urn:microsoft.com/office/officeart/2009/layout/CircleArrowProcess"/>
    <dgm:cxn modelId="{271F9364-062A-4A57-977C-982F6769A306}" type="presParOf" srcId="{368289B5-7C41-442C-AF12-2A39E2FE2D91}" destId="{2EFF7A0D-49B3-4CCA-AC3A-B89614DC0F9F}" srcOrd="2" destOrd="0" presId="urn:microsoft.com/office/officeart/2009/layout/CircleArrowProcess"/>
    <dgm:cxn modelId="{25490CBD-3C2B-4B02-8FF5-0D7E94B62182}" type="presParOf" srcId="{2EFF7A0D-49B3-4CCA-AC3A-B89614DC0F9F}" destId="{68784E5A-F3DF-4B86-9009-28D43527E99B}" srcOrd="0" destOrd="0" presId="urn:microsoft.com/office/officeart/2009/layout/CircleArrowProcess"/>
    <dgm:cxn modelId="{E9764006-33D8-4EB4-BF62-AF5FAE3F134D}" type="presParOf" srcId="{368289B5-7C41-442C-AF12-2A39E2FE2D91}" destId="{BF7263FB-332A-4967-8507-7A61BE3061EB}" srcOrd="3" destOrd="0" presId="urn:microsoft.com/office/officeart/2009/layout/CircleArrowProcess"/>
    <dgm:cxn modelId="{A14AC777-A93D-4A6E-A372-3F8DB12E2B64}" type="presParOf" srcId="{368289B5-7C41-442C-AF12-2A39E2FE2D91}" destId="{7EDA2E9A-A8B2-428D-B8E6-E6C227E8C931}" srcOrd="4" destOrd="0" presId="urn:microsoft.com/office/officeart/2009/layout/CircleArrowProcess"/>
    <dgm:cxn modelId="{A2FD9686-607D-4CEE-AAF7-301B906CB3CA}" type="presParOf" srcId="{7EDA2E9A-A8B2-428D-B8E6-E6C227E8C931}" destId="{474047B2-CA52-44B9-8B6B-C6E8FD8C697F}" srcOrd="0" destOrd="0" presId="urn:microsoft.com/office/officeart/2009/layout/CircleArrowProcess"/>
    <dgm:cxn modelId="{0543F90B-FA99-44D5-A506-762B11957E69}" type="presParOf" srcId="{368289B5-7C41-442C-AF12-2A39E2FE2D91}" destId="{80A322DE-B7DA-4992-BBFA-B7B728289FC5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CDFB60C-FED7-44EE-968C-3EA4DF77CF9B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489A7B4-A3F4-4044-B84C-86FEE5DE8BC0}">
      <dgm:prSet phldrT="[Testo]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solidFill>
            <a:schemeClr val="bg1"/>
          </a:solidFill>
        </a:ln>
      </dgm:spPr>
      <dgm:t>
        <a:bodyPr/>
        <a:lstStyle/>
        <a:p>
          <a:r>
            <a:rPr lang="it-IT" dirty="0"/>
            <a:t> </a:t>
          </a:r>
        </a:p>
      </dgm:t>
    </dgm:pt>
    <dgm:pt modelId="{D868CB9B-9277-4776-BBDE-85A78FD1555F}" type="sibTrans" cxnId="{F1C9487C-4970-493F-875B-4D4DABBE5671}">
      <dgm:prSet/>
      <dgm:spPr/>
      <dgm:t>
        <a:bodyPr/>
        <a:lstStyle/>
        <a:p>
          <a:endParaRPr lang="it-IT"/>
        </a:p>
      </dgm:t>
    </dgm:pt>
    <dgm:pt modelId="{F91AE316-A4F0-44E8-8C4D-0C5CB0466A58}" type="parTrans" cxnId="{F1C9487C-4970-493F-875B-4D4DABBE5671}">
      <dgm:prSet/>
      <dgm:spPr/>
      <dgm:t>
        <a:bodyPr/>
        <a:lstStyle/>
        <a:p>
          <a:endParaRPr lang="it-IT"/>
        </a:p>
      </dgm:t>
    </dgm:pt>
    <dgm:pt modelId="{8E9BFE5C-76EC-495E-A1D2-F33DF9FCD18F}">
      <dgm:prSet phldrT="[Testo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it-IT" dirty="0">
              <a:solidFill>
                <a:schemeClr val="tx2"/>
              </a:solidFill>
            </a:rPr>
            <a:t>Agenzia delle Entrate</a:t>
          </a:r>
        </a:p>
      </dgm:t>
    </dgm:pt>
    <dgm:pt modelId="{DAD7399A-3BF4-41B7-AF0E-C602C097F502}" type="parTrans" cxnId="{BF7BEBF6-07C9-4317-8F0B-270300E305CB}">
      <dgm:prSet/>
      <dgm:spPr/>
      <dgm:t>
        <a:bodyPr/>
        <a:lstStyle/>
        <a:p>
          <a:endParaRPr lang="it-IT"/>
        </a:p>
      </dgm:t>
    </dgm:pt>
    <dgm:pt modelId="{29C0E6E7-B31D-4B27-9ABA-7F2966B1E916}" type="sibTrans" cxnId="{BF7BEBF6-07C9-4317-8F0B-270300E305CB}">
      <dgm:prSet/>
      <dgm:spPr>
        <a:solidFill>
          <a:srgbClr val="00B050"/>
        </a:solidFill>
      </dgm:spPr>
      <dgm:t>
        <a:bodyPr/>
        <a:lstStyle/>
        <a:p>
          <a:endParaRPr lang="it-IT"/>
        </a:p>
      </dgm:t>
    </dgm:pt>
    <dgm:pt modelId="{697FFD7B-4746-467D-B747-58A919BD3F0E}">
      <dgm:prSet phldrT="[Testo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it-IT" dirty="0">
              <a:solidFill>
                <a:schemeClr val="tx2"/>
              </a:solidFill>
            </a:rPr>
            <a:t>MIMIT</a:t>
          </a:r>
        </a:p>
      </dgm:t>
    </dgm:pt>
    <dgm:pt modelId="{B66AE0B5-B8B3-4604-B05C-C0A30A89EE82}" type="parTrans" cxnId="{6BADE3F4-09EB-4602-96B2-D6704C06428C}">
      <dgm:prSet/>
      <dgm:spPr/>
      <dgm:t>
        <a:bodyPr/>
        <a:lstStyle/>
        <a:p>
          <a:endParaRPr lang="it-IT"/>
        </a:p>
      </dgm:t>
    </dgm:pt>
    <dgm:pt modelId="{FF271271-82F6-4B03-BF9E-46A1F1B9F35D}" type="sibTrans" cxnId="{6BADE3F4-09EB-4602-96B2-D6704C06428C}">
      <dgm:prSet/>
      <dgm:spPr>
        <a:solidFill>
          <a:srgbClr val="00B050"/>
        </a:solidFill>
      </dgm:spPr>
      <dgm:t>
        <a:bodyPr/>
        <a:lstStyle/>
        <a:p>
          <a:endParaRPr lang="it-IT"/>
        </a:p>
      </dgm:t>
    </dgm:pt>
    <dgm:pt modelId="{2F3FA058-C1AC-422C-A1C2-779FFA180E9A}">
      <dgm:prSet phldrT="[Testo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GB" b="0" dirty="0">
              <a:solidFill>
                <a:schemeClr val="tx2"/>
              </a:solidFill>
            </a:rPr>
            <a:t>GSE</a:t>
          </a:r>
          <a:endParaRPr lang="it-IT" b="0" dirty="0">
            <a:solidFill>
              <a:schemeClr val="tx2"/>
            </a:solidFill>
          </a:endParaRPr>
        </a:p>
      </dgm:t>
    </dgm:pt>
    <dgm:pt modelId="{28C12381-F4B0-42ED-B829-189EDED81AD1}" type="parTrans" cxnId="{B31A4B82-8BA6-4CEB-9FD0-4E58312DFFFE}">
      <dgm:prSet/>
      <dgm:spPr/>
      <dgm:t>
        <a:bodyPr/>
        <a:lstStyle/>
        <a:p>
          <a:endParaRPr lang="it-IT"/>
        </a:p>
      </dgm:t>
    </dgm:pt>
    <dgm:pt modelId="{705DABAD-B371-44DA-92B9-744BBB5CFD5F}" type="sibTrans" cxnId="{B31A4B82-8BA6-4CEB-9FD0-4E58312DFFFE}">
      <dgm:prSet/>
      <dgm:spPr>
        <a:solidFill>
          <a:srgbClr val="00B050"/>
        </a:solidFill>
      </dgm:spPr>
      <dgm:t>
        <a:bodyPr/>
        <a:lstStyle/>
        <a:p>
          <a:endParaRPr lang="it-IT"/>
        </a:p>
      </dgm:t>
    </dgm:pt>
    <dgm:pt modelId="{9117F926-870C-49E9-B31A-3EAA8BBEEF92}" type="pres">
      <dgm:prSet presAssocID="{DCDFB60C-FED7-44EE-968C-3EA4DF77CF9B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75D05EC-7B49-436A-B590-091E64893E32}" type="pres">
      <dgm:prSet presAssocID="{D489A7B4-A3F4-4044-B84C-86FEE5DE8BC0}" presName="centerShape" presStyleLbl="node0" presStyleIdx="0" presStyleCnt="1"/>
      <dgm:spPr/>
    </dgm:pt>
    <dgm:pt modelId="{BD468457-B7A5-4BBC-BA88-01EE8DD7D829}" type="pres">
      <dgm:prSet presAssocID="{2F3FA058-C1AC-422C-A1C2-779FFA180E9A}" presName="node" presStyleLbl="node1" presStyleIdx="0" presStyleCnt="3">
        <dgm:presLayoutVars>
          <dgm:bulletEnabled val="1"/>
        </dgm:presLayoutVars>
      </dgm:prSet>
      <dgm:spPr/>
    </dgm:pt>
    <dgm:pt modelId="{08446439-0F47-48A5-99D9-8F20EB6A482F}" type="pres">
      <dgm:prSet presAssocID="{2F3FA058-C1AC-422C-A1C2-779FFA180E9A}" presName="dummy" presStyleCnt="0"/>
      <dgm:spPr/>
    </dgm:pt>
    <dgm:pt modelId="{810B6EED-A91B-41ED-B368-06F202123F42}" type="pres">
      <dgm:prSet presAssocID="{705DABAD-B371-44DA-92B9-744BBB5CFD5F}" presName="sibTrans" presStyleLbl="sibTrans2D1" presStyleIdx="0" presStyleCnt="3"/>
      <dgm:spPr/>
    </dgm:pt>
    <dgm:pt modelId="{B47617D8-35F8-4E25-A5C1-3AA4FEEBCC07}" type="pres">
      <dgm:prSet presAssocID="{8E9BFE5C-76EC-495E-A1D2-F33DF9FCD18F}" presName="node" presStyleLbl="node1" presStyleIdx="1" presStyleCnt="3">
        <dgm:presLayoutVars>
          <dgm:bulletEnabled val="1"/>
        </dgm:presLayoutVars>
      </dgm:prSet>
      <dgm:spPr/>
    </dgm:pt>
    <dgm:pt modelId="{E9EA53CF-137E-43BF-A03D-64D05DD3397F}" type="pres">
      <dgm:prSet presAssocID="{8E9BFE5C-76EC-495E-A1D2-F33DF9FCD18F}" presName="dummy" presStyleCnt="0"/>
      <dgm:spPr/>
    </dgm:pt>
    <dgm:pt modelId="{17FBE9F6-D354-4243-B99B-472C175BD6D2}" type="pres">
      <dgm:prSet presAssocID="{29C0E6E7-B31D-4B27-9ABA-7F2966B1E916}" presName="sibTrans" presStyleLbl="sibTrans2D1" presStyleIdx="1" presStyleCnt="3"/>
      <dgm:spPr/>
    </dgm:pt>
    <dgm:pt modelId="{D32C6B4E-227C-44C1-AB1E-4588DB6067F0}" type="pres">
      <dgm:prSet presAssocID="{697FFD7B-4746-467D-B747-58A919BD3F0E}" presName="node" presStyleLbl="node1" presStyleIdx="2" presStyleCnt="3">
        <dgm:presLayoutVars>
          <dgm:bulletEnabled val="1"/>
        </dgm:presLayoutVars>
      </dgm:prSet>
      <dgm:spPr/>
    </dgm:pt>
    <dgm:pt modelId="{7AAE0041-C552-4D87-A180-F26E7AEAE40A}" type="pres">
      <dgm:prSet presAssocID="{697FFD7B-4746-467D-B747-58A919BD3F0E}" presName="dummy" presStyleCnt="0"/>
      <dgm:spPr/>
    </dgm:pt>
    <dgm:pt modelId="{0D3AF83C-7E8B-4F40-A2F9-AC0B8B74D127}" type="pres">
      <dgm:prSet presAssocID="{FF271271-82F6-4B03-BF9E-46A1F1B9F35D}" presName="sibTrans" presStyleLbl="sibTrans2D1" presStyleIdx="2" presStyleCnt="3"/>
      <dgm:spPr/>
    </dgm:pt>
  </dgm:ptLst>
  <dgm:cxnLst>
    <dgm:cxn modelId="{F1C9487C-4970-493F-875B-4D4DABBE5671}" srcId="{DCDFB60C-FED7-44EE-968C-3EA4DF77CF9B}" destId="{D489A7B4-A3F4-4044-B84C-86FEE5DE8BC0}" srcOrd="0" destOrd="0" parTransId="{F91AE316-A4F0-44E8-8C4D-0C5CB0466A58}" sibTransId="{D868CB9B-9277-4776-BBDE-85A78FD1555F}"/>
    <dgm:cxn modelId="{B31A4B82-8BA6-4CEB-9FD0-4E58312DFFFE}" srcId="{D489A7B4-A3F4-4044-B84C-86FEE5DE8BC0}" destId="{2F3FA058-C1AC-422C-A1C2-779FFA180E9A}" srcOrd="0" destOrd="0" parTransId="{28C12381-F4B0-42ED-B829-189EDED81AD1}" sibTransId="{705DABAD-B371-44DA-92B9-744BBB5CFD5F}"/>
    <dgm:cxn modelId="{9B197C8D-4844-4997-9D59-362D138B573E}" type="presOf" srcId="{8E9BFE5C-76EC-495E-A1D2-F33DF9FCD18F}" destId="{B47617D8-35F8-4E25-A5C1-3AA4FEEBCC07}" srcOrd="0" destOrd="0" presId="urn:microsoft.com/office/officeart/2005/8/layout/radial6"/>
    <dgm:cxn modelId="{CE6D7A91-9521-42A3-8A8A-04E2C27E7E4F}" type="presOf" srcId="{705DABAD-B371-44DA-92B9-744BBB5CFD5F}" destId="{810B6EED-A91B-41ED-B368-06F202123F42}" srcOrd="0" destOrd="0" presId="urn:microsoft.com/office/officeart/2005/8/layout/radial6"/>
    <dgm:cxn modelId="{08156CB0-874B-4738-B4F4-8BBE1453889E}" type="presOf" srcId="{FF271271-82F6-4B03-BF9E-46A1F1B9F35D}" destId="{0D3AF83C-7E8B-4F40-A2F9-AC0B8B74D127}" srcOrd="0" destOrd="0" presId="urn:microsoft.com/office/officeart/2005/8/layout/radial6"/>
    <dgm:cxn modelId="{59EC7AB7-E0D8-4432-A8E5-00519F4E38F4}" type="presOf" srcId="{697FFD7B-4746-467D-B747-58A919BD3F0E}" destId="{D32C6B4E-227C-44C1-AB1E-4588DB6067F0}" srcOrd="0" destOrd="0" presId="urn:microsoft.com/office/officeart/2005/8/layout/radial6"/>
    <dgm:cxn modelId="{421352B9-744F-42C2-BE6A-E34BB366F5DE}" type="presOf" srcId="{29C0E6E7-B31D-4B27-9ABA-7F2966B1E916}" destId="{17FBE9F6-D354-4243-B99B-472C175BD6D2}" srcOrd="0" destOrd="0" presId="urn:microsoft.com/office/officeart/2005/8/layout/radial6"/>
    <dgm:cxn modelId="{D2B25CC6-7132-4AC8-8305-3ED2F9CE6E41}" type="presOf" srcId="{2F3FA058-C1AC-422C-A1C2-779FFA180E9A}" destId="{BD468457-B7A5-4BBC-BA88-01EE8DD7D829}" srcOrd="0" destOrd="0" presId="urn:microsoft.com/office/officeart/2005/8/layout/radial6"/>
    <dgm:cxn modelId="{4E3D6ECD-6F8F-4527-B4FE-4D80081C0C23}" type="presOf" srcId="{DCDFB60C-FED7-44EE-968C-3EA4DF77CF9B}" destId="{9117F926-870C-49E9-B31A-3EAA8BBEEF92}" srcOrd="0" destOrd="0" presId="urn:microsoft.com/office/officeart/2005/8/layout/radial6"/>
    <dgm:cxn modelId="{DBBDB5F0-C34B-4440-BD7D-E4D65832ADC7}" type="presOf" srcId="{D489A7B4-A3F4-4044-B84C-86FEE5DE8BC0}" destId="{175D05EC-7B49-436A-B590-091E64893E32}" srcOrd="0" destOrd="0" presId="urn:microsoft.com/office/officeart/2005/8/layout/radial6"/>
    <dgm:cxn modelId="{6BADE3F4-09EB-4602-96B2-D6704C06428C}" srcId="{D489A7B4-A3F4-4044-B84C-86FEE5DE8BC0}" destId="{697FFD7B-4746-467D-B747-58A919BD3F0E}" srcOrd="2" destOrd="0" parTransId="{B66AE0B5-B8B3-4604-B05C-C0A30A89EE82}" sibTransId="{FF271271-82F6-4B03-BF9E-46A1F1B9F35D}"/>
    <dgm:cxn modelId="{BF7BEBF6-07C9-4317-8F0B-270300E305CB}" srcId="{D489A7B4-A3F4-4044-B84C-86FEE5DE8BC0}" destId="{8E9BFE5C-76EC-495E-A1D2-F33DF9FCD18F}" srcOrd="1" destOrd="0" parTransId="{DAD7399A-3BF4-41B7-AF0E-C602C097F502}" sibTransId="{29C0E6E7-B31D-4B27-9ABA-7F2966B1E916}"/>
    <dgm:cxn modelId="{488771F3-787F-4FCF-878F-13E94B3CD171}" type="presParOf" srcId="{9117F926-870C-49E9-B31A-3EAA8BBEEF92}" destId="{175D05EC-7B49-436A-B590-091E64893E32}" srcOrd="0" destOrd="0" presId="urn:microsoft.com/office/officeart/2005/8/layout/radial6"/>
    <dgm:cxn modelId="{2AE7F5C2-DA2A-434D-8E3D-B03D2D3E6728}" type="presParOf" srcId="{9117F926-870C-49E9-B31A-3EAA8BBEEF92}" destId="{BD468457-B7A5-4BBC-BA88-01EE8DD7D829}" srcOrd="1" destOrd="0" presId="urn:microsoft.com/office/officeart/2005/8/layout/radial6"/>
    <dgm:cxn modelId="{0AC92008-00BC-486F-9857-5F7964C66157}" type="presParOf" srcId="{9117F926-870C-49E9-B31A-3EAA8BBEEF92}" destId="{08446439-0F47-48A5-99D9-8F20EB6A482F}" srcOrd="2" destOrd="0" presId="urn:microsoft.com/office/officeart/2005/8/layout/radial6"/>
    <dgm:cxn modelId="{E85DAD86-CBFF-4A05-87EC-8EDC616D566B}" type="presParOf" srcId="{9117F926-870C-49E9-B31A-3EAA8BBEEF92}" destId="{810B6EED-A91B-41ED-B368-06F202123F42}" srcOrd="3" destOrd="0" presId="urn:microsoft.com/office/officeart/2005/8/layout/radial6"/>
    <dgm:cxn modelId="{73D1E005-C342-483F-A91A-D2E87B86275A}" type="presParOf" srcId="{9117F926-870C-49E9-B31A-3EAA8BBEEF92}" destId="{B47617D8-35F8-4E25-A5C1-3AA4FEEBCC07}" srcOrd="4" destOrd="0" presId="urn:microsoft.com/office/officeart/2005/8/layout/radial6"/>
    <dgm:cxn modelId="{64D5F9A2-6124-4D0A-8559-D82965443BD5}" type="presParOf" srcId="{9117F926-870C-49E9-B31A-3EAA8BBEEF92}" destId="{E9EA53CF-137E-43BF-A03D-64D05DD3397F}" srcOrd="5" destOrd="0" presId="urn:microsoft.com/office/officeart/2005/8/layout/radial6"/>
    <dgm:cxn modelId="{BB23B1CF-FCF0-4230-A040-1595BE9B4BAB}" type="presParOf" srcId="{9117F926-870C-49E9-B31A-3EAA8BBEEF92}" destId="{17FBE9F6-D354-4243-B99B-472C175BD6D2}" srcOrd="6" destOrd="0" presId="urn:microsoft.com/office/officeart/2005/8/layout/radial6"/>
    <dgm:cxn modelId="{A57430C2-42F1-4902-BCD7-BCF120ABD8AF}" type="presParOf" srcId="{9117F926-870C-49E9-B31A-3EAA8BBEEF92}" destId="{D32C6B4E-227C-44C1-AB1E-4588DB6067F0}" srcOrd="7" destOrd="0" presId="urn:microsoft.com/office/officeart/2005/8/layout/radial6"/>
    <dgm:cxn modelId="{81554BD8-901C-4691-B42D-648C6A2066A7}" type="presParOf" srcId="{9117F926-870C-49E9-B31A-3EAA8BBEEF92}" destId="{7AAE0041-C552-4D87-A180-F26E7AEAE40A}" srcOrd="8" destOrd="0" presId="urn:microsoft.com/office/officeart/2005/8/layout/radial6"/>
    <dgm:cxn modelId="{A9125C0A-0DBF-4989-96EE-B235072F45CB}" type="presParOf" srcId="{9117F926-870C-49E9-B31A-3EAA8BBEEF92}" destId="{0D3AF83C-7E8B-4F40-A2F9-AC0B8B74D127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23FD31-A4E0-4604-9848-33DEC41CB0C1}">
      <dsp:nvSpPr>
        <dsp:cNvPr id="0" name=""/>
        <dsp:cNvSpPr/>
      </dsp:nvSpPr>
      <dsp:spPr>
        <a:xfrm>
          <a:off x="2951045" y="498744"/>
          <a:ext cx="4187731" cy="4187731"/>
        </a:xfrm>
        <a:prstGeom prst="pie">
          <a:avLst>
            <a:gd name="adj1" fmla="val 16200000"/>
            <a:gd name="adj2" fmla="val 0"/>
          </a:avLst>
        </a:prstGeom>
        <a:solidFill>
          <a:schemeClr val="bg1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b="1" kern="1200" dirty="0">
              <a:solidFill>
                <a:srgbClr val="0066CC"/>
              </a:solidFill>
            </a:rPr>
            <a:t>Misura automatica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kern="1200" dirty="0">
              <a:solidFill>
                <a:srgbClr val="0066CC"/>
              </a:solidFill>
            </a:rPr>
            <a:t>No istruttoria </a:t>
          </a:r>
          <a:endParaRPr lang="it-IT" sz="1700" b="1" kern="1200" dirty="0">
            <a:solidFill>
              <a:srgbClr val="0066CC"/>
            </a:solidFill>
          </a:endParaRPr>
        </a:p>
      </dsp:txBody>
      <dsp:txXfrm>
        <a:off x="5092770" y="1273475"/>
        <a:ext cx="1545472" cy="1246348"/>
      </dsp:txXfrm>
    </dsp:sp>
    <dsp:sp modelId="{DDA90245-5A87-46C5-BB2F-9801975A201B}">
      <dsp:nvSpPr>
        <dsp:cNvPr id="0" name=""/>
        <dsp:cNvSpPr/>
      </dsp:nvSpPr>
      <dsp:spPr>
        <a:xfrm>
          <a:off x="2950405" y="424927"/>
          <a:ext cx="4187731" cy="4187731"/>
        </a:xfrm>
        <a:prstGeom prst="pie">
          <a:avLst>
            <a:gd name="adj1" fmla="val 0"/>
            <a:gd name="adj2" fmla="val 5400000"/>
          </a:avLst>
        </a:prstGeom>
        <a:solidFill>
          <a:schemeClr val="bg1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700" b="1" kern="1200" dirty="0">
            <a:solidFill>
              <a:srgbClr val="0066CC"/>
            </a:solidFill>
          </a:endParaRP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b="1" kern="1200" dirty="0">
              <a:solidFill>
                <a:srgbClr val="0066CC"/>
              </a:solidFill>
            </a:rPr>
            <a:t>Misura cumulabile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kern="1200" dirty="0">
              <a:solidFill>
                <a:srgbClr val="0066CC"/>
              </a:solidFill>
            </a:rPr>
            <a:t>No ZES e 4.0</a:t>
          </a:r>
          <a:endParaRPr lang="it-IT" sz="1700" b="1" kern="1200" dirty="0">
            <a:solidFill>
              <a:srgbClr val="0066CC"/>
            </a:solidFill>
          </a:endParaRPr>
        </a:p>
      </dsp:txBody>
      <dsp:txXfrm>
        <a:off x="5119051" y="2593573"/>
        <a:ext cx="1545472" cy="1246348"/>
      </dsp:txXfrm>
    </dsp:sp>
    <dsp:sp modelId="{50E97C64-ACFF-4D13-A395-ECD791F49399}">
      <dsp:nvSpPr>
        <dsp:cNvPr id="0" name=""/>
        <dsp:cNvSpPr/>
      </dsp:nvSpPr>
      <dsp:spPr>
        <a:xfrm>
          <a:off x="2950405" y="424927"/>
          <a:ext cx="4187731" cy="4187731"/>
        </a:xfrm>
        <a:prstGeom prst="pie">
          <a:avLst>
            <a:gd name="adj1" fmla="val 5400000"/>
            <a:gd name="adj2" fmla="val 10800000"/>
          </a:avLst>
        </a:prstGeom>
        <a:solidFill>
          <a:schemeClr val="bg1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700" b="1" kern="1200" dirty="0">
            <a:solidFill>
              <a:srgbClr val="0066CC"/>
            </a:solidFill>
          </a:endParaRP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b="1" kern="1200" dirty="0">
              <a:solidFill>
                <a:srgbClr val="0066CC"/>
              </a:solidFill>
            </a:rPr>
            <a:t>Misura non selettiva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kern="1200" dirty="0">
              <a:solidFill>
                <a:srgbClr val="0066CC"/>
              </a:solidFill>
            </a:rPr>
            <a:t>No aiuto di Stato</a:t>
          </a:r>
          <a:endParaRPr lang="it-IT" sz="1700" b="1" kern="1200" dirty="0">
            <a:solidFill>
              <a:srgbClr val="0066CC"/>
            </a:solidFill>
          </a:endParaRPr>
        </a:p>
      </dsp:txBody>
      <dsp:txXfrm>
        <a:off x="3424017" y="2593573"/>
        <a:ext cx="1545472" cy="1246348"/>
      </dsp:txXfrm>
    </dsp:sp>
    <dsp:sp modelId="{D99F8149-6CF8-4FB2-AED5-9F6828C738A6}">
      <dsp:nvSpPr>
        <dsp:cNvPr id="0" name=""/>
        <dsp:cNvSpPr/>
      </dsp:nvSpPr>
      <dsp:spPr>
        <a:xfrm>
          <a:off x="2857353" y="330116"/>
          <a:ext cx="4187731" cy="4187731"/>
        </a:xfrm>
        <a:prstGeom prst="pie">
          <a:avLst>
            <a:gd name="adj1" fmla="val 10800000"/>
            <a:gd name="adj2" fmla="val 16200000"/>
          </a:avLst>
        </a:prstGeom>
        <a:solidFill>
          <a:schemeClr val="bg1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b="1" kern="1200" dirty="0">
              <a:solidFill>
                <a:srgbClr val="0066CC"/>
              </a:solidFill>
            </a:rPr>
            <a:t>Beneficiari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700" kern="1200" dirty="0">
              <a:solidFill>
                <a:srgbClr val="0066CC"/>
              </a:solidFill>
            </a:rPr>
            <a:t>Tutte le imprese</a:t>
          </a:r>
          <a:endParaRPr lang="it-IT" sz="1700" b="1" kern="1200" dirty="0">
            <a:solidFill>
              <a:srgbClr val="0066CC"/>
            </a:solidFill>
          </a:endParaRPr>
        </a:p>
      </dsp:txBody>
      <dsp:txXfrm>
        <a:off x="3330966" y="1102853"/>
        <a:ext cx="1545472" cy="12463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65907D-AAFC-4E1D-90C1-5AE3FA23F5BF}">
      <dsp:nvSpPr>
        <dsp:cNvPr id="0" name=""/>
        <dsp:cNvSpPr/>
      </dsp:nvSpPr>
      <dsp:spPr>
        <a:xfrm>
          <a:off x="477531" y="143599"/>
          <a:ext cx="5268086" cy="746158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6A09FA-21E4-4E47-B941-D8845F65804A}">
      <dsp:nvSpPr>
        <dsp:cNvPr id="0" name=""/>
        <dsp:cNvSpPr/>
      </dsp:nvSpPr>
      <dsp:spPr>
        <a:xfrm>
          <a:off x="553387" y="362918"/>
          <a:ext cx="356437" cy="356437"/>
        </a:xfrm>
        <a:prstGeom prst="rect">
          <a:avLst/>
        </a:prstGeom>
        <a:solidFill>
          <a:schemeClr val="accent3">
            <a:lumMod val="40000"/>
            <a:lumOff val="60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857F97-473A-4239-9A96-8F13497FD56B}">
      <dsp:nvSpPr>
        <dsp:cNvPr id="0" name=""/>
        <dsp:cNvSpPr/>
      </dsp:nvSpPr>
      <dsp:spPr>
        <a:xfrm>
          <a:off x="2070892" y="372338"/>
          <a:ext cx="2070592" cy="3382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2800" kern="1200" dirty="0">
            <a:solidFill>
              <a:srgbClr val="00B050"/>
            </a:solidFill>
          </a:endParaRPr>
        </a:p>
      </dsp:txBody>
      <dsp:txXfrm>
        <a:off x="2070892" y="372338"/>
        <a:ext cx="2070592" cy="338212"/>
      </dsp:txXfrm>
    </dsp:sp>
    <dsp:sp modelId="{432F9DCA-AC7A-4689-AD84-7A25E07B3928}">
      <dsp:nvSpPr>
        <dsp:cNvPr id="0" name=""/>
        <dsp:cNvSpPr/>
      </dsp:nvSpPr>
      <dsp:spPr>
        <a:xfrm>
          <a:off x="580243" y="1258356"/>
          <a:ext cx="356428" cy="356428"/>
        </a:xfrm>
        <a:prstGeom prst="rect">
          <a:avLst/>
        </a:prstGeom>
        <a:solidFill>
          <a:schemeClr val="bg2">
            <a:lumMod val="9000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FA5E3E-85E9-4BCA-B80D-639B2AC53C26}">
      <dsp:nvSpPr>
        <dsp:cNvPr id="0" name=""/>
        <dsp:cNvSpPr/>
      </dsp:nvSpPr>
      <dsp:spPr>
        <a:xfrm>
          <a:off x="1033707" y="1000960"/>
          <a:ext cx="4512258" cy="8308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i="0" kern="1200" dirty="0">
              <a:solidFill>
                <a:schemeClr val="tx2"/>
              </a:solidFill>
            </a:rPr>
            <a:t>Attività direttamente connesse ai combustibili fossili</a:t>
          </a:r>
          <a:endParaRPr lang="it-IT" sz="1400" kern="1200" dirty="0">
            <a:solidFill>
              <a:schemeClr val="tx2"/>
            </a:solidFill>
          </a:endParaRPr>
        </a:p>
      </dsp:txBody>
      <dsp:txXfrm>
        <a:off x="1033707" y="1000960"/>
        <a:ext cx="4512258" cy="830836"/>
      </dsp:txXfrm>
    </dsp:sp>
    <dsp:sp modelId="{9C9BCE21-8971-4521-8347-1E3C26F599EF}">
      <dsp:nvSpPr>
        <dsp:cNvPr id="0" name=""/>
        <dsp:cNvSpPr/>
      </dsp:nvSpPr>
      <dsp:spPr>
        <a:xfrm>
          <a:off x="580243" y="1975684"/>
          <a:ext cx="356428" cy="356428"/>
        </a:xfrm>
        <a:prstGeom prst="rect">
          <a:avLst/>
        </a:prstGeom>
        <a:solidFill>
          <a:schemeClr val="bg2">
            <a:lumMod val="9000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6A3E1A-7709-495E-A0D6-0BB4E589426C}">
      <dsp:nvSpPr>
        <dsp:cNvPr id="0" name=""/>
        <dsp:cNvSpPr/>
      </dsp:nvSpPr>
      <dsp:spPr>
        <a:xfrm>
          <a:off x="1023825" y="1754844"/>
          <a:ext cx="4512258" cy="8308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i="0" kern="1200" dirty="0">
              <a:solidFill>
                <a:schemeClr val="tx2"/>
              </a:solidFill>
            </a:rPr>
            <a:t>Attività nell'ambito del sistema di scambio di quote di emissione dell’UE (ETS) che generano emissioni di gas a effetto serra previste non inferiori ai pertinenti parametri di riferimento</a:t>
          </a:r>
          <a:endParaRPr lang="it-IT" sz="1400" kern="1200" dirty="0">
            <a:solidFill>
              <a:schemeClr val="tx2"/>
            </a:solidFill>
          </a:endParaRPr>
        </a:p>
      </dsp:txBody>
      <dsp:txXfrm>
        <a:off x="1023825" y="1754844"/>
        <a:ext cx="4512258" cy="830836"/>
      </dsp:txXfrm>
    </dsp:sp>
    <dsp:sp modelId="{64F9371C-8BD9-4F0D-9B2F-20C39C41C1FD}">
      <dsp:nvSpPr>
        <dsp:cNvPr id="0" name=""/>
        <dsp:cNvSpPr/>
      </dsp:nvSpPr>
      <dsp:spPr>
        <a:xfrm>
          <a:off x="580243" y="2772862"/>
          <a:ext cx="356428" cy="356428"/>
        </a:xfrm>
        <a:prstGeom prst="rect">
          <a:avLst/>
        </a:prstGeom>
        <a:solidFill>
          <a:schemeClr val="bg2">
            <a:lumMod val="9000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654CC3-C378-4BAF-8F81-3EEE8F656DBB}">
      <dsp:nvSpPr>
        <dsp:cNvPr id="0" name=""/>
        <dsp:cNvSpPr/>
      </dsp:nvSpPr>
      <dsp:spPr>
        <a:xfrm>
          <a:off x="1023870" y="2573209"/>
          <a:ext cx="4512258" cy="8308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i="0" kern="1200" dirty="0">
              <a:solidFill>
                <a:schemeClr val="tx2"/>
              </a:solidFill>
            </a:rPr>
            <a:t>Attività connesse alle discariche di rifiuti, agli inceneritori e agli impianti di trattamento meccanico biologico</a:t>
          </a:r>
          <a:endParaRPr lang="it-IT" sz="1400" kern="1200" dirty="0">
            <a:solidFill>
              <a:schemeClr val="tx2"/>
            </a:solidFill>
          </a:endParaRPr>
        </a:p>
      </dsp:txBody>
      <dsp:txXfrm>
        <a:off x="1023870" y="2573209"/>
        <a:ext cx="4512258" cy="830836"/>
      </dsp:txXfrm>
    </dsp:sp>
    <dsp:sp modelId="{997B5A79-731E-45B4-986C-42371BDD415E}">
      <dsp:nvSpPr>
        <dsp:cNvPr id="0" name=""/>
        <dsp:cNvSpPr/>
      </dsp:nvSpPr>
      <dsp:spPr>
        <a:xfrm>
          <a:off x="580243" y="3525641"/>
          <a:ext cx="356428" cy="356428"/>
        </a:xfrm>
        <a:prstGeom prst="rect">
          <a:avLst/>
        </a:prstGeom>
        <a:solidFill>
          <a:schemeClr val="bg2">
            <a:lumMod val="9000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256A68-452F-43B2-B0CF-03F8EF8C8A86}">
      <dsp:nvSpPr>
        <dsp:cNvPr id="0" name=""/>
        <dsp:cNvSpPr/>
      </dsp:nvSpPr>
      <dsp:spPr>
        <a:xfrm>
          <a:off x="997428" y="3563275"/>
          <a:ext cx="4512258" cy="8308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i="0" kern="1200" dirty="0">
              <a:solidFill>
                <a:schemeClr val="tx2"/>
              </a:solidFill>
            </a:rPr>
            <a:t>Attività nel cui processo produttivo venga generata un’elevata dose di sostanze inquinanti classificabili come rifiuti speciali pericolosi </a:t>
          </a:r>
          <a:r>
            <a:rPr lang="it-IT" sz="1400" b="0" i="0" u="none" kern="1200" dirty="0">
              <a:solidFill>
                <a:schemeClr val="tx2"/>
              </a:solidFill>
            </a:rPr>
            <a:t>di cui al regolamento (UE) n. 1357/2014 della Commissione, del 18 dicembre 2014, e </a:t>
          </a:r>
          <a:r>
            <a:rPr lang="it-IT" sz="1400" b="0" i="0" kern="1200" dirty="0">
              <a:solidFill>
                <a:schemeClr val="tx2"/>
              </a:solidFill>
            </a:rPr>
            <a:t>il cui smaltimento a lungo termine potrebbe causare un danno all'ambiente</a:t>
          </a:r>
          <a:endParaRPr lang="it-IT" sz="1400" kern="1200" dirty="0">
            <a:solidFill>
              <a:schemeClr val="tx2"/>
            </a:solidFill>
          </a:endParaRPr>
        </a:p>
      </dsp:txBody>
      <dsp:txXfrm>
        <a:off x="997428" y="3563275"/>
        <a:ext cx="4512258" cy="83083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00F31A-A899-4B6E-9878-2DBAF615ED61}">
      <dsp:nvSpPr>
        <dsp:cNvPr id="0" name=""/>
        <dsp:cNvSpPr/>
      </dsp:nvSpPr>
      <dsp:spPr>
        <a:xfrm>
          <a:off x="23337" y="1035512"/>
          <a:ext cx="2187610" cy="3146002"/>
        </a:xfrm>
        <a:prstGeom prst="roundRect">
          <a:avLst/>
        </a:prstGeom>
        <a:solidFill>
          <a:srgbClr val="0066CC"/>
        </a:solidFill>
        <a:ln w="38100" cap="flat" cmpd="sng" algn="ctr">
          <a:solidFill>
            <a:srgbClr val="0066C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900" kern="1200" dirty="0">
              <a:solidFill>
                <a:schemeClr val="bg1"/>
              </a:solidFill>
            </a:rPr>
            <a:t>Beni strumentali materiali e immateriali strumentali tecnologicamente avanzati (A+B)</a:t>
          </a:r>
        </a:p>
      </dsp:txBody>
      <dsp:txXfrm>
        <a:off x="130127" y="1142302"/>
        <a:ext cx="1974030" cy="2932422"/>
      </dsp:txXfrm>
    </dsp:sp>
    <dsp:sp modelId="{2F58F0E2-D74E-4A93-9338-2FC6E4C5046C}">
      <dsp:nvSpPr>
        <dsp:cNvPr id="0" name=""/>
        <dsp:cNvSpPr/>
      </dsp:nvSpPr>
      <dsp:spPr>
        <a:xfrm rot="19137082">
          <a:off x="2185788" y="2261768"/>
          <a:ext cx="84672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46723" y="0"/>
              </a:lnTo>
            </a:path>
          </a:pathLst>
        </a:cu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C8C7A9-04C2-4361-9584-A8CAD1FDCC3F}">
      <dsp:nvSpPr>
        <dsp:cNvPr id="0" name=""/>
        <dsp:cNvSpPr/>
      </dsp:nvSpPr>
      <dsp:spPr>
        <a:xfrm rot="13404145">
          <a:off x="5355477" y="2259919"/>
          <a:ext cx="80385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03856" y="0"/>
              </a:lnTo>
            </a:path>
          </a:pathLst>
        </a:cu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884A79-AC8D-462F-8317-6558AD0C15BD}">
      <dsp:nvSpPr>
        <dsp:cNvPr id="0" name=""/>
        <dsp:cNvSpPr/>
      </dsp:nvSpPr>
      <dsp:spPr>
        <a:xfrm>
          <a:off x="2928430" y="1983746"/>
          <a:ext cx="279065" cy="0"/>
        </a:xfrm>
        <a:prstGeom prst="line">
          <a:avLst/>
        </a:pr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42925D-CA5F-41C8-8E08-E31D83E4BC15}">
      <dsp:nvSpPr>
        <dsp:cNvPr id="0" name=""/>
        <dsp:cNvSpPr/>
      </dsp:nvSpPr>
      <dsp:spPr>
        <a:xfrm>
          <a:off x="3207495" y="1363076"/>
          <a:ext cx="1978826" cy="1241341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600" kern="12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</a:rPr>
            <a:t>Riduzione dei consumi energetici</a:t>
          </a:r>
          <a:endParaRPr lang="it-IT" sz="1600" kern="1200" dirty="0">
            <a:solidFill>
              <a:srgbClr val="00B050"/>
            </a:solidFill>
          </a:endParaRPr>
        </a:p>
      </dsp:txBody>
      <dsp:txXfrm>
        <a:off x="3207495" y="1363076"/>
        <a:ext cx="1978826" cy="1241341"/>
      </dsp:txXfrm>
    </dsp:sp>
    <dsp:sp modelId="{D3428431-5D45-4986-AD91-6198B3366AD1}">
      <dsp:nvSpPr>
        <dsp:cNvPr id="0" name=""/>
        <dsp:cNvSpPr/>
      </dsp:nvSpPr>
      <dsp:spPr>
        <a:xfrm>
          <a:off x="5186321" y="1983746"/>
          <a:ext cx="279065" cy="0"/>
        </a:xfrm>
        <a:prstGeom prst="line">
          <a:avLst/>
        </a:pr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2F9E06-961D-4DFE-8A57-DE68E69CD6F2}">
      <dsp:nvSpPr>
        <dsp:cNvPr id="0" name=""/>
        <dsp:cNvSpPr/>
      </dsp:nvSpPr>
      <dsp:spPr>
        <a:xfrm rot="2346433">
          <a:off x="2197533" y="2936037"/>
          <a:ext cx="832655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32655" y="0"/>
              </a:lnTo>
            </a:path>
          </a:pathLst>
        </a:cu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EA3FB4-DFE6-4AF5-9E0A-0AC9936C8429}">
      <dsp:nvSpPr>
        <dsp:cNvPr id="0" name=""/>
        <dsp:cNvSpPr/>
      </dsp:nvSpPr>
      <dsp:spPr>
        <a:xfrm rot="8241275">
          <a:off x="5373126" y="2934188"/>
          <a:ext cx="78073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80733" y="0"/>
              </a:lnTo>
            </a:path>
          </a:pathLst>
        </a:cu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6058D9-6A05-482A-A862-86F68B900DC4}">
      <dsp:nvSpPr>
        <dsp:cNvPr id="0" name=""/>
        <dsp:cNvSpPr/>
      </dsp:nvSpPr>
      <dsp:spPr>
        <a:xfrm>
          <a:off x="2936918" y="3198645"/>
          <a:ext cx="279338" cy="0"/>
        </a:xfrm>
        <a:prstGeom prst="line">
          <a:avLst/>
        </a:pr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5D74C0-8A8B-4114-ABCD-849F01C0D05C}">
      <dsp:nvSpPr>
        <dsp:cNvPr id="0" name=""/>
        <dsp:cNvSpPr/>
      </dsp:nvSpPr>
      <dsp:spPr>
        <a:xfrm>
          <a:off x="3216256" y="2604417"/>
          <a:ext cx="1980760" cy="1188456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altLang="it-IT" sz="1600" kern="1200" dirty="0">
              <a:solidFill>
                <a:srgbClr val="00B050"/>
              </a:solidFill>
              <a:latin typeface="Verdana" panose="020B0604030504040204" pitchFamily="34" charset="0"/>
              <a:ea typeface="Verdana" panose="020B0604030504040204" pitchFamily="34" charset="0"/>
              <a:cs typeface="Tahoma" panose="020B0604030504040204" pitchFamily="34" charset="0"/>
            </a:rPr>
            <a:t>almeno 3% per unità produttiva o 5% per processo</a:t>
          </a:r>
          <a:endParaRPr lang="it-IT" sz="1600" kern="1200" dirty="0">
            <a:solidFill>
              <a:srgbClr val="00B050"/>
            </a:solidFill>
          </a:endParaRPr>
        </a:p>
      </dsp:txBody>
      <dsp:txXfrm>
        <a:off x="3216256" y="2604417"/>
        <a:ext cx="1980760" cy="1188456"/>
      </dsp:txXfrm>
    </dsp:sp>
    <dsp:sp modelId="{C480CCB8-AD3C-406D-8B93-0C37F33FB5AE}">
      <dsp:nvSpPr>
        <dsp:cNvPr id="0" name=""/>
        <dsp:cNvSpPr/>
      </dsp:nvSpPr>
      <dsp:spPr>
        <a:xfrm>
          <a:off x="5197017" y="3198645"/>
          <a:ext cx="279338" cy="0"/>
        </a:xfrm>
        <a:prstGeom prst="line">
          <a:avLst/>
        </a:prstGeom>
        <a:noFill/>
        <a:ln w="381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763FB3-668C-451C-8082-EA54BABB8406}">
      <dsp:nvSpPr>
        <dsp:cNvPr id="0" name=""/>
        <dsp:cNvSpPr/>
      </dsp:nvSpPr>
      <dsp:spPr>
        <a:xfrm>
          <a:off x="6121610" y="1031155"/>
          <a:ext cx="1658018" cy="3146406"/>
        </a:xfrm>
        <a:prstGeom prst="flowChartAlternateProcess">
          <a:avLst/>
        </a:prstGeom>
        <a:solidFill>
          <a:schemeClr val="accent6"/>
        </a:solidFill>
        <a:ln w="381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900" kern="1200" dirty="0">
              <a:solidFill>
                <a:schemeClr val="bg1"/>
              </a:solidFill>
            </a:rPr>
            <a:t>Attività di formazione</a:t>
          </a:r>
        </a:p>
      </dsp:txBody>
      <dsp:txXfrm>
        <a:off x="6202546" y="1112091"/>
        <a:ext cx="1496146" cy="2984534"/>
      </dsp:txXfrm>
    </dsp:sp>
    <dsp:sp modelId="{2A29C0C7-3E32-4A62-A7BE-51EC6B27B4CD}">
      <dsp:nvSpPr>
        <dsp:cNvPr id="0" name=""/>
        <dsp:cNvSpPr/>
      </dsp:nvSpPr>
      <dsp:spPr>
        <a:xfrm>
          <a:off x="7881315" y="1034333"/>
          <a:ext cx="1746179" cy="3146406"/>
        </a:xfrm>
        <a:prstGeom prst="flowChartAlternateProcess">
          <a:avLst/>
        </a:prstGeom>
        <a:solidFill>
          <a:srgbClr val="FAC730"/>
        </a:solidFill>
        <a:ln w="38100" cap="flat" cmpd="sng" algn="ctr">
          <a:solidFill>
            <a:srgbClr val="FAC73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900" kern="1200" dirty="0">
              <a:solidFill>
                <a:schemeClr val="bg1"/>
              </a:solidFill>
            </a:rPr>
            <a:t>Beni per autoproduzione e autoconsumo energia da fonti rinnovabili</a:t>
          </a:r>
        </a:p>
      </dsp:txBody>
      <dsp:txXfrm>
        <a:off x="7966555" y="1119573"/>
        <a:ext cx="1575699" cy="2975926"/>
      </dsp:txXfrm>
    </dsp:sp>
    <dsp:sp modelId="{5FC5688E-B665-4957-A53F-7A8517206CB2}">
      <dsp:nvSpPr>
        <dsp:cNvPr id="0" name=""/>
        <dsp:cNvSpPr/>
      </dsp:nvSpPr>
      <dsp:spPr>
        <a:xfrm>
          <a:off x="3277565" y="1522815"/>
          <a:ext cx="1859290" cy="2183972"/>
        </a:xfrm>
        <a:prstGeom prst="flowChartAlternateProcess">
          <a:avLst/>
        </a:prstGeom>
        <a:solidFill>
          <a:srgbClr val="00B050">
            <a:alpha val="35000"/>
          </a:srgbClr>
        </a:solidFill>
        <a:ln w="381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900" kern="1200" dirty="0">
            <a:solidFill>
              <a:schemeClr val="bg1"/>
            </a:solidFill>
          </a:endParaRPr>
        </a:p>
      </dsp:txBody>
      <dsp:txXfrm>
        <a:off x="3368326" y="1613576"/>
        <a:ext cx="1677768" cy="200245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AB536E-636D-4C54-922E-16F0DB133206}">
      <dsp:nvSpPr>
        <dsp:cNvPr id="0" name=""/>
        <dsp:cNvSpPr/>
      </dsp:nvSpPr>
      <dsp:spPr>
        <a:xfrm>
          <a:off x="3392934" y="-49159"/>
          <a:ext cx="2764076" cy="2482798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00B050"/>
        </a:solidFill>
        <a:ln>
          <a:solidFill>
            <a:srgbClr val="00B050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F2D5056-ECB6-4138-9AD1-7B266705BEF3}">
      <dsp:nvSpPr>
        <dsp:cNvPr id="0" name=""/>
        <dsp:cNvSpPr/>
      </dsp:nvSpPr>
      <dsp:spPr>
        <a:xfrm>
          <a:off x="3893575" y="511971"/>
          <a:ext cx="1717877" cy="965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000" b="1" kern="1200" dirty="0">
              <a:solidFill>
                <a:srgbClr val="0066CC"/>
              </a:solidFill>
              <a:latin typeface="Calibri"/>
              <a:ea typeface="+mn-ea"/>
              <a:cs typeface="+mn-cs"/>
            </a:rPr>
            <a:t>Ex ante</a:t>
          </a:r>
        </a:p>
      </dsp:txBody>
      <dsp:txXfrm>
        <a:off x="3893575" y="511971"/>
        <a:ext cx="1717877" cy="965999"/>
      </dsp:txXfrm>
    </dsp:sp>
    <dsp:sp modelId="{68784E5A-F3DF-4B86-9009-28D43527E99B}">
      <dsp:nvSpPr>
        <dsp:cNvPr id="0" name=""/>
        <dsp:cNvSpPr/>
      </dsp:nvSpPr>
      <dsp:spPr>
        <a:xfrm>
          <a:off x="2583859" y="1377392"/>
          <a:ext cx="3003257" cy="2482798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rgbClr val="00B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F7263FB-332A-4967-8507-7A61BE3061EB}">
      <dsp:nvSpPr>
        <dsp:cNvPr id="0" name=""/>
        <dsp:cNvSpPr/>
      </dsp:nvSpPr>
      <dsp:spPr>
        <a:xfrm>
          <a:off x="3146683" y="2304794"/>
          <a:ext cx="1838288" cy="689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000" b="1" kern="1200" dirty="0">
              <a:solidFill>
                <a:srgbClr val="0066CC"/>
              </a:solidFill>
            </a:rPr>
            <a:t>Ex post</a:t>
          </a:r>
        </a:p>
      </dsp:txBody>
      <dsp:txXfrm>
        <a:off x="3146683" y="2304794"/>
        <a:ext cx="1838288" cy="689551"/>
      </dsp:txXfrm>
    </dsp:sp>
    <dsp:sp modelId="{474047B2-CA52-44B9-8B6B-C6E8FD8C697F}">
      <dsp:nvSpPr>
        <dsp:cNvPr id="0" name=""/>
        <dsp:cNvSpPr/>
      </dsp:nvSpPr>
      <dsp:spPr>
        <a:xfrm>
          <a:off x="3531571" y="2974635"/>
          <a:ext cx="2490537" cy="2133639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rgbClr val="00B05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0A322DE-B7DA-4992-BBFA-B7B728289FC5}">
      <dsp:nvSpPr>
        <dsp:cNvPr id="0" name=""/>
        <dsp:cNvSpPr/>
      </dsp:nvSpPr>
      <dsp:spPr>
        <a:xfrm>
          <a:off x="3795616" y="3768036"/>
          <a:ext cx="1920323" cy="689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000" b="1" kern="1200" dirty="0">
              <a:solidFill>
                <a:srgbClr val="0066CC"/>
              </a:solidFill>
            </a:rPr>
            <a:t>Compensazione credito</a:t>
          </a:r>
        </a:p>
      </dsp:txBody>
      <dsp:txXfrm>
        <a:off x="3795616" y="3768036"/>
        <a:ext cx="1920323" cy="68955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3AF83C-7E8B-4F40-A2F9-AC0B8B74D127}">
      <dsp:nvSpPr>
        <dsp:cNvPr id="0" name=""/>
        <dsp:cNvSpPr/>
      </dsp:nvSpPr>
      <dsp:spPr>
        <a:xfrm>
          <a:off x="3174402" y="581247"/>
          <a:ext cx="3882557" cy="3882557"/>
        </a:xfrm>
        <a:prstGeom prst="blockArc">
          <a:avLst>
            <a:gd name="adj1" fmla="val 9000000"/>
            <a:gd name="adj2" fmla="val 16200000"/>
            <a:gd name="adj3" fmla="val 4643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FBE9F6-D354-4243-B99B-472C175BD6D2}">
      <dsp:nvSpPr>
        <dsp:cNvPr id="0" name=""/>
        <dsp:cNvSpPr/>
      </dsp:nvSpPr>
      <dsp:spPr>
        <a:xfrm>
          <a:off x="3174402" y="581247"/>
          <a:ext cx="3882557" cy="3882557"/>
        </a:xfrm>
        <a:prstGeom prst="blockArc">
          <a:avLst>
            <a:gd name="adj1" fmla="val 1800000"/>
            <a:gd name="adj2" fmla="val 9000000"/>
            <a:gd name="adj3" fmla="val 4643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0B6EED-A91B-41ED-B368-06F202123F42}">
      <dsp:nvSpPr>
        <dsp:cNvPr id="0" name=""/>
        <dsp:cNvSpPr/>
      </dsp:nvSpPr>
      <dsp:spPr>
        <a:xfrm>
          <a:off x="3174402" y="581247"/>
          <a:ext cx="3882557" cy="3882557"/>
        </a:xfrm>
        <a:prstGeom prst="blockArc">
          <a:avLst>
            <a:gd name="adj1" fmla="val 16200000"/>
            <a:gd name="adj2" fmla="val 1800000"/>
            <a:gd name="adj3" fmla="val 4643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5D05EC-7B49-436A-B590-091E64893E32}">
      <dsp:nvSpPr>
        <dsp:cNvPr id="0" name=""/>
        <dsp:cNvSpPr/>
      </dsp:nvSpPr>
      <dsp:spPr>
        <a:xfrm>
          <a:off x="4221435" y="1628280"/>
          <a:ext cx="1788490" cy="1788490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6500" kern="1200" dirty="0"/>
            <a:t> </a:t>
          </a:r>
        </a:p>
      </dsp:txBody>
      <dsp:txXfrm>
        <a:off x="4483353" y="1890198"/>
        <a:ext cx="1264654" cy="1264654"/>
      </dsp:txXfrm>
    </dsp:sp>
    <dsp:sp modelId="{BD468457-B7A5-4BBC-BA88-01EE8DD7D829}">
      <dsp:nvSpPr>
        <dsp:cNvPr id="0" name=""/>
        <dsp:cNvSpPr/>
      </dsp:nvSpPr>
      <dsp:spPr>
        <a:xfrm>
          <a:off x="4489709" y="345"/>
          <a:ext cx="1251943" cy="1251943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b="0" kern="1200" dirty="0">
              <a:solidFill>
                <a:schemeClr val="tx2"/>
              </a:solidFill>
            </a:rPr>
            <a:t>GSE</a:t>
          </a:r>
          <a:endParaRPr lang="it-IT" sz="1900" b="0" kern="1200" dirty="0">
            <a:solidFill>
              <a:schemeClr val="tx2"/>
            </a:solidFill>
          </a:endParaRPr>
        </a:p>
      </dsp:txBody>
      <dsp:txXfrm>
        <a:off x="4673052" y="183688"/>
        <a:ext cx="885257" cy="885257"/>
      </dsp:txXfrm>
    </dsp:sp>
    <dsp:sp modelId="{B47617D8-35F8-4E25-A5C1-3AA4FEEBCC07}">
      <dsp:nvSpPr>
        <dsp:cNvPr id="0" name=""/>
        <dsp:cNvSpPr/>
      </dsp:nvSpPr>
      <dsp:spPr>
        <a:xfrm>
          <a:off x="6131874" y="2844658"/>
          <a:ext cx="1251943" cy="1251943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900" kern="1200" dirty="0">
              <a:solidFill>
                <a:schemeClr val="tx2"/>
              </a:solidFill>
            </a:rPr>
            <a:t>Agenzia delle Entrate</a:t>
          </a:r>
        </a:p>
      </dsp:txBody>
      <dsp:txXfrm>
        <a:off x="6315217" y="3028001"/>
        <a:ext cx="885257" cy="885257"/>
      </dsp:txXfrm>
    </dsp:sp>
    <dsp:sp modelId="{D32C6B4E-227C-44C1-AB1E-4588DB6067F0}">
      <dsp:nvSpPr>
        <dsp:cNvPr id="0" name=""/>
        <dsp:cNvSpPr/>
      </dsp:nvSpPr>
      <dsp:spPr>
        <a:xfrm>
          <a:off x="2847544" y="2844658"/>
          <a:ext cx="1251943" cy="1251943"/>
        </a:xfrm>
        <a:prstGeom prst="ellipse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900" kern="1200" dirty="0">
              <a:solidFill>
                <a:schemeClr val="tx2"/>
              </a:solidFill>
            </a:rPr>
            <a:t>MIMIT</a:t>
          </a:r>
        </a:p>
      </dsp:txBody>
      <dsp:txXfrm>
        <a:off x="3030887" y="3028001"/>
        <a:ext cx="885257" cy="8852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SubStepProcess">
  <dgm:title val=""/>
  <dgm:desc val=""/>
  <dgm:catLst>
    <dgm:cat type="process" pri="1225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61" srcId="1" destId="11" srcOrd="0" destOrd="0"/>
        <dgm:cxn modelId="62" srcId="1" destId="12" srcOrd="1" destOrd="0"/>
        <dgm:cxn modelId="7" srcId="0" destId="2" srcOrd="0" destOrd="0"/>
        <dgm:cxn modelId="8" srcId="0" destId="3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8" srcId="0" destId="1" srcOrd="0" destOrd="0"/>
        <dgm:cxn modelId="81" srcId="1" destId="11" srcOrd="0" destOrd="0"/>
        <dgm:cxn modelId="82" srcId="1" destId="12" srcOrd="1" destOrd="0"/>
        <dgm:cxn modelId="9" srcId="0" destId="2" srcOrd="0" destOrd="0"/>
        <dgm:cxn modelId="10" srcId="0" destId="3" srcOrd="0" destOrd="0"/>
        <dgm:cxn modelId="11" srcId="0" destId="4" srcOrd="0" destOrd="0"/>
      </dgm:cxnLst>
      <dgm:bg/>
      <dgm:whole/>
    </dgm:dataModel>
  </dgm:clrData>
  <dgm:layoutNode name="Name0">
    <dgm:varLst>
      <dgm:chMax val="7"/>
      <dgm:dir/>
      <dgm:animOne val="branch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Tx1" refType="w"/>
      <dgm:constr type="w" for="ch" forName="chLin1" refType="w" refFor="ch" refForName="parTx1" fact="1.38"/>
      <dgm:constr type="h" for="ch" forName="chLin1" refType="h"/>
      <dgm:constr type="w" for="ch" forName="spPre1" refType="w" fact="0.27"/>
      <dgm:constr type="w" for="ch" forName="spPost1" refType="w" fact="0.27"/>
      <dgm:constr type="h" for="ch" forName="spPre1" refType="h"/>
      <dgm:constr type="h" for="ch" forName="spPost1" refType="h"/>
      <dgm:constr type="primFontSz" for="ch" forName="parTx1" val="65"/>
      <dgm:constr type="primFontSz" for="des" forName="desTx1" refType="primFontSz" refFor="ch" refForName="parTx1" fact="0.78"/>
      <dgm:constr type="primFontSz" for="des" forName="desTx1" op="equ"/>
      <dgm:constr type="w" for="ch" forName="parTx2" refType="w"/>
      <dgm:constr type="w" for="ch" forName="chLin2" refType="w" refFor="ch" refForName="parTx2" fact="1.38"/>
      <dgm:constr type="h" for="ch" forName="chLin2" refType="h"/>
      <dgm:constr type="w" for="ch" forName="spPre2" refType="w" fact="0.54"/>
      <dgm:constr type="w" for="ch" forName="spPost2" refType="w" fact="0.54"/>
      <dgm:constr type="h" for="ch" forName="spPre2" refType="h"/>
      <dgm:constr type="h" for="ch" forName="spPost2" refType="h"/>
      <dgm:constr type="primFontSz" for="ch" forName="parTx2" refType="primFontSz" refFor="ch" refForName="parTx1" op="equ"/>
      <dgm:constr type="primFontSz" for="des" forName="desTx2" refType="primFontSz" refFor="des" refForName="desTx1" op="equ"/>
      <dgm:constr type="w" for="ch" forName="parTx3" refType="w"/>
      <dgm:constr type="w" for="ch" forName="chLin3" refType="w" refFor="ch" refForName="parTx3" fact="1.38"/>
      <dgm:constr type="h" for="ch" forName="chLin3" refType="h"/>
      <dgm:constr type="w" for="ch" forName="spPre3" refType="w" fact="0.54"/>
      <dgm:constr type="w" for="ch" forName="spPost3" refType="w" fact="0.54"/>
      <dgm:constr type="h" for="ch" forName="spPre3" refType="h"/>
      <dgm:constr type="h" for="ch" forName="spPost3" refType="h"/>
      <dgm:constr type="primFontSz" for="ch" forName="parTx3" refType="primFontSz" refFor="ch" refForName="parTx1" op="equ"/>
      <dgm:constr type="primFontSz" for="des" forName="desTx3" refType="primFontSz" refFor="des" refForName="desTx1" op="equ"/>
      <dgm:constr type="w" for="ch" forName="parTx4" refType="w"/>
      <dgm:constr type="w" for="ch" forName="chLin4" refType="w" refFor="ch" refForName="parTx4" fact="1.38"/>
      <dgm:constr type="h" for="ch" forName="chLin4" refType="h"/>
      <dgm:constr type="w" for="ch" forName="spPre4" refType="w" fact="0.54"/>
      <dgm:constr type="w" for="ch" forName="spPost4" refType="w" fact="0.54"/>
      <dgm:constr type="h" for="ch" forName="spPre4" refType="h"/>
      <dgm:constr type="h" for="ch" forName="spPost4" refType="h"/>
      <dgm:constr type="primFontSz" for="ch" forName="parTx4" refType="primFontSz" refFor="ch" refForName="parTx1" op="equ"/>
      <dgm:constr type="primFontSz" for="des" forName="desTx4" refType="primFontSz" refFor="des" refForName="desTx1" op="equ"/>
      <dgm:constr type="w" for="ch" forName="parTx5" refType="w"/>
      <dgm:constr type="w" for="ch" forName="chLin5" refType="w" refFor="ch" refForName="parTx5" fact="1.38"/>
      <dgm:constr type="h" for="ch" forName="chLin5" refType="h"/>
      <dgm:constr type="w" for="ch" forName="spPre5" refType="w" fact="0.54"/>
      <dgm:constr type="w" for="ch" forName="spPost5" refType="w" fact="0.54"/>
      <dgm:constr type="h" for="ch" forName="spPre5" refType="h"/>
      <dgm:constr type="h" for="ch" forName="spPost5" refType="h"/>
      <dgm:constr type="primFontSz" for="ch" forName="parTx5" refType="primFontSz" refFor="ch" refForName="parTx1" op="equ"/>
      <dgm:constr type="primFontSz" for="des" forName="desTx5" refType="primFontSz" refFor="des" refForName="desTx1" op="equ"/>
      <dgm:constr type="w" for="ch" forName="parTx6" refType="w"/>
      <dgm:constr type="w" for="ch" forName="chLin6" refType="w" refFor="ch" refForName="parTx6" fact="1.38"/>
      <dgm:constr type="h" for="ch" forName="chLin6" refType="h"/>
      <dgm:constr type="w" for="ch" forName="spPre6" refType="w" fact="0.54"/>
      <dgm:constr type="w" for="ch" forName="spPost6" refType="w" fact="0.54"/>
      <dgm:constr type="h" for="ch" forName="spPre6" refType="h"/>
      <dgm:constr type="h" for="ch" forName="spPost6" refType="h"/>
      <dgm:constr type="primFontSz" for="ch" forName="parTx6" refType="primFontSz" refFor="ch" refForName="parTx1" op="equ"/>
      <dgm:constr type="primFontSz" for="des" forName="desTx6" refType="primFontSz" refFor="des" refForName="desTx1" op="equ"/>
      <dgm:constr type="w" for="ch" forName="parTx7" refType="w"/>
      <dgm:constr type="w" for="ch" forName="chLin7" refType="w" refFor="ch" refForName="parTx7" fact="1.38"/>
      <dgm:constr type="h" for="ch" forName="chLin7" refType="h"/>
      <dgm:constr type="w" for="ch" forName="spPre7" refType="w" fact="0.54"/>
      <dgm:constr type="w" for="ch" forName="spPost7" refType="w" fact="0.54"/>
      <dgm:constr type="h" for="ch" forName="spPre7" refType="h"/>
      <dgm:constr type="h" for="ch" forName="spPost7" refType="h"/>
      <dgm:constr type="primFontSz" for="ch" forName="parTx7" refType="primFontSz" refFor="ch" refForName="parTx1" op="equ"/>
      <dgm:constr type="primFontSz" for="des" forName="desTx7" refType="primFontSz" refFor="des" refForName="desTx1" op="equ"/>
    </dgm:constrLst>
    <dgm:forEach name="Name4" axis="ch" ptType="node">
      <dgm:choose name="Name5">
        <dgm:if name="Name6" axis="self" ptType="node" func="pos" op="equ" val="1">
          <dgm:layoutNode name="parTx1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7">
            <dgm:if name="Name8" axis="ch" ptType="node" func="cnt" op="gte" val="1">
              <dgm:layoutNode name="spPre1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1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1" refType="w" fact="0.77"/>
                  <dgm:constr type="w" for="ch" forName="top1" refType="w" refFor="ch" refForName="txAndLines1" fact="0.78"/>
                </dgm:constrLst>
                <dgm:forEach name="Name9" axis="ch">
                  <dgm:forEach name="Name10" axis="self" ptType="parTrans">
                    <dgm:layoutNode name="Name11" styleLbl="parChTrans1D1">
                      <dgm:choose name="Name12">
                        <dgm:if name="Name13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1"/>
                          </dgm:alg>
                        </dgm:if>
                        <dgm:else name="Name14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1"/>
                            <dgm:param type="dstNode" val="anchor1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5" axis="self" ptType="node">
                    <dgm:choose name="Name16">
                      <dgm:if name="Name17" axis="par ch" ptType="node node" func="cnt" op="equ" val="1">
                        <dgm:layoutNode name="top1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8"/>
                    </dgm:choose>
                    <dgm:layoutNode name="txAndLines1">
                      <dgm:choose name="Name19">
                        <dgm:if name="Name20" func="var" arg="dir" op="equ" val="norm">
                          <dgm:alg type="lin"/>
                        </dgm:if>
                        <dgm:else name="Name21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22">
                        <dgm:if name="Name23" axis="root ch" ptType="all node" func="cnt" op="gte" val="2">
                          <dgm:constrLst>
                            <dgm:constr type="w" for="ch" forName="anchor1" refType="w"/>
                            <dgm:constr type="w" for="ch" forName="backup1" refType="w" fact="-1"/>
                            <dgm:constr type="w" for="ch" forName="preLine1" refType="w" fact="0.11"/>
                            <dgm:constr type="w" for="ch" forName="desTx1" refType="w" fact="0.78"/>
                            <dgm:constr type="w" for="ch" forName="postLine1" refType="w" fact="0.11"/>
                          </dgm:constrLst>
                        </dgm:if>
                        <dgm:else name="Name24">
                          <dgm:constrLst>
                            <dgm:constr type="w" for="ch" forName="anchor1" refType="w" fact="0.89"/>
                            <dgm:constr type="w" for="ch" forName="backup1" refType="w" fact="-0.89"/>
                            <dgm:constr type="w" for="ch" forName="preLine1" refType="w" fact="0.11"/>
                            <dgm:constr type="w" for="ch" forName="desTx1" refType="w" fact="0.78"/>
                          </dgm:constrLst>
                        </dgm:else>
                      </dgm:choose>
                      <dgm:layoutNode name="anchor1" moveWith="desTx1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1" moveWith="desTx1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1" styleLbl="parChTrans1D1" moveWith="desTx1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1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25">
                        <dgm:if name="Name26" axis="root ch" ptType="all node" func="cnt" op="gte" val="2">
                          <dgm:layoutNode name="postLine1" styleLbl="parChTrans1D1" moveWith="desTx1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27"/>
                      </dgm:choose>
                    </dgm:layoutNode>
                  </dgm:forEach>
                  <dgm:choose name="Name28">
                    <dgm:if name="Name29" axis="root ch" ptType="all node" func="cnt" op="gte" val="2">
                      <dgm:forEach name="Name30" axis="self" ptType="parTrans">
                        <dgm:layoutNode name="Name31" styleLbl="parChTrans1D1">
                          <dgm:choose name="Name32">
                            <dgm:if name="Name33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2"/>
                                <dgm:param type="endSty" val="noArr"/>
                                <dgm:param type="dstNode" val="anchor1"/>
                              </dgm:alg>
                            </dgm:if>
                            <dgm:else name="Name34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2"/>
                                <dgm:param type="dstNode" val="anchor1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35"/>
                  </dgm:choose>
                </dgm:forEach>
              </dgm:layoutNode>
              <dgm:choose name="Name36">
                <dgm:if name="Name37" axis="root ch" ptType="all node" func="cnt" op="gte" val="2">
                  <dgm:layoutNode name="spPost1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38"/>
              </dgm:choose>
            </dgm:if>
            <dgm:else name="Name39"/>
          </dgm:choose>
        </dgm:if>
        <dgm:if name="Name40" axis="self" ptType="node" func="pos" op="equ" val="2">
          <dgm:layoutNode name="parTx2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41">
            <dgm:if name="Name42" axis="ch" ptType="node" func="cnt" op="gte" val="1">
              <dgm:layoutNode name="spPre2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2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2" refType="w" fact="0.77"/>
                  <dgm:constr type="w" for="ch" forName="top2" refType="w" refFor="ch" refForName="txAndLines2" fact="0.78"/>
                </dgm:constrLst>
                <dgm:forEach name="Name43" axis="ch">
                  <dgm:forEach name="Name44" axis="self" ptType="parTrans">
                    <dgm:layoutNode name="Name45" styleLbl="parChTrans1D1">
                      <dgm:choose name="Name46">
                        <dgm:if name="Name47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2"/>
                          </dgm:alg>
                        </dgm:if>
                        <dgm:else name="Name48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2"/>
                            <dgm:param type="dstNode" val="anchor2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49" axis="self" ptType="node">
                    <dgm:choose name="Name50">
                      <dgm:if name="Name51" axis="par ch" ptType="node node" func="cnt" op="equ" val="1">
                        <dgm:layoutNode name="top2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52"/>
                    </dgm:choose>
                    <dgm:layoutNode name="txAndLines2">
                      <dgm:choose name="Name53">
                        <dgm:if name="Name54" func="var" arg="dir" op="equ" val="norm">
                          <dgm:alg type="lin"/>
                        </dgm:if>
                        <dgm:else name="Name55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56">
                        <dgm:if name="Name57" axis="root ch" ptType="all node" func="cnt" op="gte" val="3">
                          <dgm:constrLst>
                            <dgm:constr type="w" for="ch" forName="anchor2" refType="w"/>
                            <dgm:constr type="w" for="ch" forName="backup2" refType="w" fact="-1"/>
                            <dgm:constr type="w" for="ch" forName="preLine2" refType="w" fact="0.11"/>
                            <dgm:constr type="w" for="ch" forName="desTx2" refType="w" fact="0.78"/>
                            <dgm:constr type="w" for="ch" forName="postLine2" refType="w" fact="0.11"/>
                          </dgm:constrLst>
                        </dgm:if>
                        <dgm:else name="Name58">
                          <dgm:constrLst>
                            <dgm:constr type="w" for="ch" forName="anchor2" refType="w" fact="0.89"/>
                            <dgm:constr type="w" for="ch" forName="backup2" refType="w" fact="-0.89"/>
                            <dgm:constr type="w" for="ch" forName="preLine2" refType="w" fact="0.11"/>
                            <dgm:constr type="w" for="ch" forName="desTx2" refType="w" fact="0.78"/>
                          </dgm:constrLst>
                        </dgm:else>
                      </dgm:choose>
                      <dgm:layoutNode name="anchor2" moveWith="desTx2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2" moveWith="desTx2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2" styleLbl="parChTrans1D1" moveWith="desTx2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2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59">
                        <dgm:if name="Name60" axis="root ch" ptType="all node" func="cnt" op="gte" val="3">
                          <dgm:layoutNode name="postLine2" styleLbl="parChTrans1D1" moveWith="desTx2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61"/>
                      </dgm:choose>
                    </dgm:layoutNode>
                  </dgm:forEach>
                  <dgm:choose name="Name62">
                    <dgm:if name="Name63" axis="root ch" ptType="all node" func="cnt" op="gte" val="3">
                      <dgm:forEach name="Name64" axis="self" ptType="parTrans">
                        <dgm:layoutNode name="Name65" styleLbl="parChTrans1D1">
                          <dgm:choose name="Name66">
                            <dgm:if name="Name67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3"/>
                                <dgm:param type="endSty" val="noArr"/>
                                <dgm:param type="dstNode" val="anchor2"/>
                              </dgm:alg>
                            </dgm:if>
                            <dgm:else name="Name68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3"/>
                                <dgm:param type="dstNode" val="anchor2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69"/>
                  </dgm:choose>
                </dgm:forEach>
              </dgm:layoutNode>
              <dgm:choose name="Name70">
                <dgm:if name="Name71" axis="root ch" ptType="all node" func="cnt" op="gte" val="3">
                  <dgm:layoutNode name="spPost2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72"/>
              </dgm:choose>
            </dgm:if>
            <dgm:else name="Name73"/>
          </dgm:choose>
        </dgm:if>
        <dgm:if name="Name74" axis="self" ptType="node" func="pos" op="equ" val="3">
          <dgm:layoutNode name="parTx3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75">
            <dgm:if name="Name76" axis="ch" ptType="node" func="cnt" op="gte" val="1">
              <dgm:layoutNode name="spPre3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3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3" refType="w" fact="0.77"/>
                  <dgm:constr type="w" for="ch" forName="top3" refType="w" refFor="ch" refForName="txAndLines3" fact="0.78"/>
                </dgm:constrLst>
                <dgm:forEach name="Name77" axis="ch">
                  <dgm:forEach name="Name78" axis="self" ptType="parTrans">
                    <dgm:layoutNode name="Name79" styleLbl="parChTrans1D1">
                      <dgm:choose name="Name80">
                        <dgm:if name="Name81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3"/>
                          </dgm:alg>
                        </dgm:if>
                        <dgm:else name="Name82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3"/>
                            <dgm:param type="dstNode" val="anchor3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83" axis="self" ptType="node">
                    <dgm:choose name="Name84">
                      <dgm:if name="Name85" axis="par ch" ptType="node node" func="cnt" op="equ" val="1">
                        <dgm:layoutNode name="top3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86"/>
                    </dgm:choose>
                    <dgm:layoutNode name="txAndLines3">
                      <dgm:choose name="Name87">
                        <dgm:if name="Name88" func="var" arg="dir" op="equ" val="norm">
                          <dgm:alg type="lin"/>
                        </dgm:if>
                        <dgm:else name="Name89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90">
                        <dgm:if name="Name91" axis="root ch" ptType="all node" func="cnt" op="gte" val="4">
                          <dgm:constrLst>
                            <dgm:constr type="w" for="ch" forName="anchor3" refType="w"/>
                            <dgm:constr type="w" for="ch" forName="backup3" refType="w" fact="-1"/>
                            <dgm:constr type="w" for="ch" forName="preLine3" refType="w" fact="0.11"/>
                            <dgm:constr type="w" for="ch" forName="desTx3" refType="w" fact="0.78"/>
                            <dgm:constr type="w" for="ch" forName="postLine3" refType="w" fact="0.11"/>
                          </dgm:constrLst>
                        </dgm:if>
                        <dgm:else name="Name92">
                          <dgm:constrLst>
                            <dgm:constr type="w" for="ch" forName="anchor3" refType="w" fact="0.89"/>
                            <dgm:constr type="w" for="ch" forName="backup3" refType="w" fact="-0.89"/>
                            <dgm:constr type="w" for="ch" forName="preLine3" refType="w" fact="0.11"/>
                            <dgm:constr type="w" for="ch" forName="desTx3" refType="w" fact="0.78"/>
                          </dgm:constrLst>
                        </dgm:else>
                      </dgm:choose>
                      <dgm:layoutNode name="anchor3" moveWith="desTx3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3" moveWith="desTx3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3" styleLbl="parChTrans1D1" moveWith="desTx3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3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93">
                        <dgm:if name="Name94" axis="root ch" ptType="all node" func="cnt" op="gte" val="4">
                          <dgm:layoutNode name="postLine3" styleLbl="parChTrans1D1" moveWith="desTx3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95"/>
                      </dgm:choose>
                    </dgm:layoutNode>
                  </dgm:forEach>
                  <dgm:choose name="Name96">
                    <dgm:if name="Name97" axis="root ch" ptType="all node" func="cnt" op="gte" val="4">
                      <dgm:forEach name="Name98" axis="self" ptType="parTrans">
                        <dgm:layoutNode name="Name99" styleLbl="parChTrans1D1">
                          <dgm:choose name="Name100">
                            <dgm:if name="Name101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4"/>
                                <dgm:param type="endSty" val="noArr"/>
                                <dgm:param type="dstNode" val="anchor3"/>
                              </dgm:alg>
                            </dgm:if>
                            <dgm:else name="Name102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4"/>
                                <dgm:param type="dstNode" val="anchor3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03"/>
                  </dgm:choose>
                </dgm:forEach>
              </dgm:layoutNode>
              <dgm:choose name="Name104">
                <dgm:if name="Name105" axis="root ch" ptType="all node" func="cnt" op="gte" val="4">
                  <dgm:layoutNode name="spPost3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06"/>
              </dgm:choose>
            </dgm:if>
            <dgm:else name="Name107"/>
          </dgm:choose>
        </dgm:if>
        <dgm:if name="Name108" axis="self" ptType="node" func="pos" op="equ" val="4">
          <dgm:layoutNode name="parTx4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09">
            <dgm:if name="Name110" axis="ch" ptType="node" func="cnt" op="gte" val="1">
              <dgm:layoutNode name="spPre4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4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4" refType="w" fact="0.77"/>
                  <dgm:constr type="w" for="ch" forName="top4" refType="w" refFor="ch" refForName="txAndLines4" fact="0.78"/>
                </dgm:constrLst>
                <dgm:forEach name="Name111" axis="ch">
                  <dgm:forEach name="Name112" axis="self" ptType="parTrans">
                    <dgm:layoutNode name="Name113" styleLbl="parChTrans1D1">
                      <dgm:choose name="Name114">
                        <dgm:if name="Name115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4"/>
                          </dgm:alg>
                        </dgm:if>
                        <dgm:else name="Name116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4"/>
                            <dgm:param type="dstNode" val="anchor4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17" axis="self" ptType="node">
                    <dgm:choose name="Name118">
                      <dgm:if name="Name119" axis="par ch" ptType="node node" func="cnt" op="equ" val="1">
                        <dgm:layoutNode name="top4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20"/>
                    </dgm:choose>
                    <dgm:layoutNode name="txAndLines4">
                      <dgm:choose name="Name121">
                        <dgm:if name="Name122" func="var" arg="dir" op="equ" val="norm">
                          <dgm:alg type="lin"/>
                        </dgm:if>
                        <dgm:else name="Name123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24">
                        <dgm:if name="Name125" axis="root ch" ptType="all node" func="cnt" op="gte" val="5">
                          <dgm:constrLst>
                            <dgm:constr type="w" for="ch" forName="anchor4" refType="w"/>
                            <dgm:constr type="w" for="ch" forName="backup4" refType="w" fact="-1"/>
                            <dgm:constr type="w" for="ch" forName="preLine4" refType="w" fact="0.11"/>
                            <dgm:constr type="w" for="ch" forName="desTx4" refType="w" fact="0.78"/>
                            <dgm:constr type="w" for="ch" forName="postLine4" refType="w" fact="0.11"/>
                          </dgm:constrLst>
                        </dgm:if>
                        <dgm:else name="Name126">
                          <dgm:constrLst>
                            <dgm:constr type="w" for="ch" forName="anchor4" refType="w" fact="0.89"/>
                            <dgm:constr type="w" for="ch" forName="backup4" refType="w" fact="-0.89"/>
                            <dgm:constr type="w" for="ch" forName="preLine4" refType="w" fact="0.11"/>
                            <dgm:constr type="w" for="ch" forName="desTx4" refType="w" fact="0.78"/>
                          </dgm:constrLst>
                        </dgm:else>
                      </dgm:choose>
                      <dgm:layoutNode name="anchor4" moveWith="desTx4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4" moveWith="desTx4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4" styleLbl="parChTrans1D1" moveWith="desTx4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4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27">
                        <dgm:if name="Name128" axis="root ch" ptType="all node" func="cnt" op="gte" val="5">
                          <dgm:layoutNode name="postLine4" styleLbl="parChTrans1D1" moveWith="desTx4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29"/>
                      </dgm:choose>
                    </dgm:layoutNode>
                  </dgm:forEach>
                  <dgm:choose name="Name130">
                    <dgm:if name="Name131" axis="root ch" ptType="all node" func="cnt" op="gte" val="5">
                      <dgm:forEach name="Name132" axis="self" ptType="parTrans">
                        <dgm:layoutNode name="Name133" styleLbl="parChTrans1D1">
                          <dgm:choose name="Name134">
                            <dgm:if name="Name135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5"/>
                                <dgm:param type="endSty" val="noArr"/>
                                <dgm:param type="dstNode" val="anchor4"/>
                              </dgm:alg>
                            </dgm:if>
                            <dgm:else name="Name136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5"/>
                                <dgm:param type="dstNode" val="anchor4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37"/>
                  </dgm:choose>
                </dgm:forEach>
              </dgm:layoutNode>
              <dgm:choose name="Name138">
                <dgm:if name="Name139" axis="root ch" ptType="all node" func="cnt" op="gte" val="5">
                  <dgm:layoutNode name="spPost4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40"/>
              </dgm:choose>
            </dgm:if>
            <dgm:else name="Name141"/>
          </dgm:choose>
        </dgm:if>
        <dgm:if name="Name142" axis="self" ptType="node" func="pos" op="equ" val="5">
          <dgm:layoutNode name="parTx5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43">
            <dgm:if name="Name144" axis="ch" ptType="node" func="cnt" op="gte" val="1">
              <dgm:layoutNode name="spPre5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5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5" refType="w" fact="0.77"/>
                  <dgm:constr type="w" for="ch" forName="top5" refType="w" refFor="ch" refForName="txAndLines5" fact="0.78"/>
                </dgm:constrLst>
                <dgm:forEach name="Name145" axis="ch">
                  <dgm:forEach name="Name146" axis="self" ptType="parTrans">
                    <dgm:layoutNode name="Name147" styleLbl="parChTrans1D1">
                      <dgm:choose name="Name148">
                        <dgm:if name="Name149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5"/>
                          </dgm:alg>
                        </dgm:if>
                        <dgm:else name="Name150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5"/>
                            <dgm:param type="dstNode" val="anchor5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51" axis="self" ptType="node">
                    <dgm:choose name="Name152">
                      <dgm:if name="Name153" axis="par ch" ptType="node node" func="cnt" op="equ" val="1">
                        <dgm:layoutNode name="top5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54"/>
                    </dgm:choose>
                    <dgm:layoutNode name="txAndLines5">
                      <dgm:choose name="Name155">
                        <dgm:if name="Name156" func="var" arg="dir" op="equ" val="norm">
                          <dgm:alg type="lin"/>
                        </dgm:if>
                        <dgm:else name="Name157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58">
                        <dgm:if name="Name159" axis="root ch" ptType="all node" func="cnt" op="gte" val="6">
                          <dgm:constrLst>
                            <dgm:constr type="w" for="ch" forName="anchor5" refType="w"/>
                            <dgm:constr type="w" for="ch" forName="backup5" refType="w" fact="-1"/>
                            <dgm:constr type="w" for="ch" forName="preLine5" refType="w" fact="0.11"/>
                            <dgm:constr type="w" for="ch" forName="desTx5" refType="w" fact="0.78"/>
                            <dgm:constr type="w" for="ch" forName="postLine5" refType="w" fact="0.11"/>
                          </dgm:constrLst>
                        </dgm:if>
                        <dgm:else name="Name160">
                          <dgm:constrLst>
                            <dgm:constr type="w" for="ch" forName="anchor5" refType="w" fact="0.89"/>
                            <dgm:constr type="w" for="ch" forName="backup5" refType="w" fact="-0.89"/>
                            <dgm:constr type="w" for="ch" forName="preLine5" refType="w" fact="0.11"/>
                            <dgm:constr type="w" for="ch" forName="desTx5" refType="w" fact="0.78"/>
                          </dgm:constrLst>
                        </dgm:else>
                      </dgm:choose>
                      <dgm:layoutNode name="anchor5" moveWith="desTx5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5" moveWith="desTx5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5" styleLbl="parChTrans1D1" moveWith="desTx5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5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61">
                        <dgm:if name="Name162" axis="root ch" ptType="all node" func="cnt" op="gte" val="6">
                          <dgm:layoutNode name="postLine5" styleLbl="parChTrans1D1" moveWith="desTx5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63"/>
                      </dgm:choose>
                    </dgm:layoutNode>
                  </dgm:forEach>
                  <dgm:choose name="Name164">
                    <dgm:if name="Name165" axis="root ch" ptType="all node" func="cnt" op="gte" val="6">
                      <dgm:forEach name="Name166" axis="self" ptType="parTrans">
                        <dgm:layoutNode name="Name167" styleLbl="parChTrans1D1">
                          <dgm:choose name="Name168">
                            <dgm:if name="Name169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6"/>
                                <dgm:param type="endSty" val="noArr"/>
                                <dgm:param type="dstNode" val="anchor5"/>
                              </dgm:alg>
                            </dgm:if>
                            <dgm:else name="Name170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6"/>
                                <dgm:param type="dstNode" val="anchor5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171"/>
                  </dgm:choose>
                </dgm:forEach>
              </dgm:layoutNode>
              <dgm:choose name="Name172">
                <dgm:if name="Name173" axis="root ch" ptType="all node" func="cnt" op="gte" val="6">
                  <dgm:layoutNode name="spPost5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174"/>
              </dgm:choose>
            </dgm:if>
            <dgm:else name="Name175"/>
          </dgm:choose>
        </dgm:if>
        <dgm:if name="Name176" axis="self" ptType="node" func="pos" op="equ" val="6">
          <dgm:layoutNode name="parTx6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177">
            <dgm:if name="Name178" axis="ch" ptType="node" func="cnt" op="gte" val="1">
              <dgm:layoutNode name="spPre6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6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6" refType="w" fact="0.77"/>
                  <dgm:constr type="w" for="ch" forName="top6" refType="w" refFor="ch" refForName="txAndLines6" fact="0.78"/>
                </dgm:constrLst>
                <dgm:forEach name="Name179" axis="ch">
                  <dgm:forEach name="Name180" axis="self" ptType="parTrans">
                    <dgm:layoutNode name="Name181" styleLbl="parChTrans1D1">
                      <dgm:choose name="Name182">
                        <dgm:if name="Name183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6"/>
                          </dgm:alg>
                        </dgm:if>
                        <dgm:else name="Name184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6"/>
                            <dgm:param type="dstNode" val="anchor6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185" axis="self" ptType="node">
                    <dgm:choose name="Name186">
                      <dgm:if name="Name187" axis="par ch" ptType="node node" func="cnt" op="equ" val="1">
                        <dgm:layoutNode name="top6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188"/>
                    </dgm:choose>
                    <dgm:layoutNode name="txAndLines6">
                      <dgm:choose name="Name189">
                        <dgm:if name="Name190" func="var" arg="dir" op="equ" val="norm">
                          <dgm:alg type="lin"/>
                        </dgm:if>
                        <dgm:else name="Name191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hoose name="Name192">
                        <dgm:if name="Name193" axis="root ch" ptType="all node" func="cnt" op="gte" val="7">
                          <dgm:constrLst>
                            <dgm:constr type="w" for="ch" forName="anchor6" refType="w"/>
                            <dgm:constr type="w" for="ch" forName="backup6" refType="w" fact="-1"/>
                            <dgm:constr type="w" for="ch" forName="preLine6" refType="w" fact="0.11"/>
                            <dgm:constr type="w" for="ch" forName="desTx6" refType="w" fact="0.78"/>
                            <dgm:constr type="w" for="ch" forName="postLine6" refType="w" fact="0.11"/>
                          </dgm:constrLst>
                        </dgm:if>
                        <dgm:else name="Name194">
                          <dgm:constrLst>
                            <dgm:constr type="w" for="ch" forName="anchor6" refType="w" fact="0.89"/>
                            <dgm:constr type="w" for="ch" forName="backup6" refType="w" fact="-0.89"/>
                            <dgm:constr type="w" for="ch" forName="preLine6" refType="w" fact="0.11"/>
                            <dgm:constr type="w" for="ch" forName="desTx6" refType="w" fact="0.78"/>
                          </dgm:constrLst>
                        </dgm:else>
                      </dgm:choose>
                      <dgm:layoutNode name="anchor6" moveWith="desTx6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6" moveWith="desTx6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6" styleLbl="parChTrans1D1" moveWith="desTx6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6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  <dgm:choose name="Name195">
                        <dgm:if name="Name196" axis="root ch" ptType="all node" func="cnt" op="gte" val="7">
                          <dgm:layoutNode name="postLine6" styleLbl="parChTrans1D1" moveWith="desTx6">
                            <dgm:alg type="sp"/>
                            <dgm:shape xmlns:r="http://schemas.openxmlformats.org/officeDocument/2006/relationships" type="line" r:blip="">
                              <dgm:adjLst/>
                            </dgm:shape>
                            <dgm:presOf/>
                          </dgm:layoutNode>
                        </dgm:if>
                        <dgm:else name="Name197"/>
                      </dgm:choose>
                    </dgm:layoutNode>
                  </dgm:forEach>
                  <dgm:choose name="Name198">
                    <dgm:if name="Name199" axis="root ch" ptType="all node" func="cnt" op="gte" val="7">
                      <dgm:forEach name="Name200" axis="self" ptType="parTrans">
                        <dgm:layoutNode name="Name201" styleLbl="parChTrans1D1">
                          <dgm:choose name="Name202">
                            <dgm:if name="Name203" func="var" arg="dir" op="equ" val="norm">
                              <dgm:alg type="conn">
                                <dgm:param type="dim" val="1D"/>
                                <dgm:param type="begPts" val="midL"/>
                                <dgm:param type="srcNode" val="parTx7"/>
                                <dgm:param type="endSty" val="noArr"/>
                                <dgm:param type="dstNode" val="anchor6"/>
                              </dgm:alg>
                            </dgm:if>
                            <dgm:else name="Name204">
                              <dgm:alg type="conn">
                                <dgm:param type="dim" val="1D"/>
                                <dgm:param type="begPts" val="midR"/>
                                <dgm:param type="endSty" val="noArr"/>
                                <dgm:param type="srcNode" val="parTx7"/>
                                <dgm:param type="dstNode" val="anchor6"/>
                              </dgm:alg>
                            </dgm:else>
                          </dgm:choose>
                          <dgm:shape xmlns:r="http://schemas.openxmlformats.org/officeDocument/2006/relationships" type="conn" r:blip="">
                            <dgm:adjLst/>
                          </dgm:shape>
                          <dgm:presOf/>
                          <dgm:constrLst>
                            <dgm:constr type="connDist"/>
                            <dgm:constr type="begPad" refType="connDist" fact="0.11"/>
                            <dgm:constr type="endPad"/>
                          </dgm:constrLst>
                        </dgm:layoutNode>
                      </dgm:forEach>
                    </dgm:if>
                    <dgm:else name="Name205"/>
                  </dgm:choose>
                </dgm:forEach>
              </dgm:layoutNode>
              <dgm:choose name="Name206">
                <dgm:if name="Name207" axis="root ch" ptType="all node" func="cnt" op="gte" val="7">
                  <dgm:layoutNode name="spPost6">
                    <dgm:alg type="sp"/>
                    <dgm:shape xmlns:r="http://schemas.openxmlformats.org/officeDocument/2006/relationships" r:blip="">
                      <dgm:adjLst/>
                    </dgm:shape>
                  </dgm:layoutNode>
                </dgm:if>
                <dgm:else name="Name208"/>
              </dgm:choose>
            </dgm:if>
            <dgm:else name="Name209"/>
          </dgm:choose>
        </dgm:if>
        <dgm:if name="Name210" axis="self" ptType="node" func="pos" op="equ" val="7">
          <dgm:layoutNode name="parTx7" styleLbl="node1">
            <dgm:alg type="tx"/>
            <dgm:shape xmlns:r="http://schemas.openxmlformats.org/officeDocument/2006/relationships" type="ellipse" r:blip="">
              <dgm:adjLst/>
            </dgm:shape>
            <dgm:presOf axis="self" ptType="node"/>
            <dgm:constrLst>
              <dgm:constr type="h" refType="w"/>
              <dgm:constr type="w" refType="h" op="lte"/>
              <dgm:constr type="tMarg"/>
              <dgm:constr type="bMarg"/>
              <dgm:constr type="lMarg"/>
              <dgm:constr type="rMarg"/>
            </dgm:constrLst>
            <dgm:ruleLst>
              <dgm:rule type="primFontSz" val="5" fact="NaN" max="NaN"/>
            </dgm:ruleLst>
          </dgm:layoutNode>
          <dgm:choose name="Name211">
            <dgm:if name="Name212" axis="ch" ptType="node" func="cnt" op="gte" val="1">
              <dgm:layoutNode name="spPre7">
                <dgm:alg type="sp"/>
                <dgm:shape xmlns:r="http://schemas.openxmlformats.org/officeDocument/2006/relationships" r:blip="">
                  <dgm:adjLst/>
                </dgm:shape>
              </dgm:layoutNode>
              <dgm:layoutNode name="chLin7">
                <dgm:alg type="lin">
                  <dgm:param type="linDir" val="fromT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txAndLines7" refType="w" fact="0.77"/>
                  <dgm:constr type="w" for="ch" forName="top7" refType="w" refFor="ch" refForName="txAndLines7" fact="0.78"/>
                </dgm:constrLst>
                <dgm:forEach name="Name213" axis="ch">
                  <dgm:forEach name="Name214" axis="self" ptType="parTrans">
                    <dgm:layoutNode name="Name215" styleLbl="parChTrans1D1">
                      <dgm:choose name="Name216">
                        <dgm:if name="Name217" func="var" arg="dir" op="equ" val="norm">
                          <dgm:alg type="conn">
                            <dgm:param type="dim" val="1D"/>
                            <dgm:param type="begPts" val="midR"/>
                            <dgm:param type="endSty" val="noArr"/>
                            <dgm:param type="dstNode" val="anchor7"/>
                          </dgm:alg>
                        </dgm:if>
                        <dgm:else name="Name218">
                          <dgm:alg type="conn">
                            <dgm:param type="dim" val="1D"/>
                            <dgm:param type="begPts" val="midL"/>
                            <dgm:param type="endSty" val="noArr"/>
                            <dgm:param type="srcNode" val="parTx7"/>
                            <dgm:param type="dstNode" val="anchor7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/>
                      <dgm:constrLst>
                        <dgm:constr type="connDist"/>
                        <dgm:constr type="begPad" refType="connDist" fact="0.11"/>
                        <dgm:constr type="endPad"/>
                      </dgm:constrLst>
                    </dgm:layoutNode>
                  </dgm:forEach>
                  <dgm:forEach name="Name219" axis="self" ptType="node">
                    <dgm:choose name="Name220">
                      <dgm:if name="Name221" axis="par ch" ptType="node node" func="cnt" op="equ" val="1">
                        <dgm:layoutNode name="top7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constrLst>
                            <dgm:constr type="h" refType="w" fact="0.6"/>
                          </dgm:constrLst>
                        </dgm:layoutNode>
                      </dgm:if>
                      <dgm:else name="Name222"/>
                    </dgm:choose>
                    <dgm:layoutNode name="txAndLines7">
                      <dgm:choose name="Name223">
                        <dgm:if name="Name224" func="var" arg="dir" op="equ" val="norm">
                          <dgm:alg type="lin"/>
                        </dgm:if>
                        <dgm:else name="Name225">
                          <dgm:alg type="lin">
                            <dgm:param type="linDir" val="from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w" for="ch" forName="anchor7" refType="w" fact="0.89"/>
                        <dgm:constr type="w" for="ch" forName="backup7" refType="w" fact="-0.89"/>
                        <dgm:constr type="w" for="ch" forName="preLine7" refType="w" fact="0.11"/>
                        <dgm:constr type="w" for="ch" forName="desTx7" refType="w" fact="0.78"/>
                      </dgm:constrLst>
                      <dgm:layoutNode name="anchor7" moveWith="desTx7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backup7" moveWith="desTx7">
                        <dgm:alg type="sp"/>
                        <dgm:shape xmlns:r="http://schemas.openxmlformats.org/officeDocument/2006/relationships" r:blip="">
                          <dgm:adjLst/>
                        </dgm:shape>
                      </dgm:layoutNode>
                      <dgm:layoutNode name="preLine7" styleLbl="parChTrans1D1" moveWith="desTx7">
                        <dgm:alg type="sp"/>
                        <dgm:shape xmlns:r="http://schemas.openxmlformats.org/officeDocument/2006/relationships" type="line" r:blip="">
                          <dgm:adjLst/>
                        </dgm:shape>
                        <dgm:presOf/>
                      </dgm:layoutNode>
                      <dgm:layoutNode name="desTx7" styleLbl="revTx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ect" r:blip="" hideGeom="1">
                          <dgm:adjLst/>
                        </dgm:shape>
                        <dgm:presOf axis="desOrSelf" ptType="node"/>
                        <dgm:constrLst>
                          <dgm:constr type="h" refType="w" fact="0.6"/>
                        </dgm:constrLst>
                        <dgm:ruleLst>
                          <dgm:rule type="primFontSz" val="5" fact="NaN" max="NaN"/>
                        </dgm:ruleLst>
                      </dgm:layoutNode>
                    </dgm:layoutNode>
                  </dgm:forEach>
                </dgm:forEach>
              </dgm:layoutNode>
            </dgm:if>
            <dgm:else name="Name226"/>
          </dgm:choose>
        </dgm:if>
        <dgm:else name="Name22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5T20:59:34.503"/>
    </inkml:context>
    <inkml:brush xml:id="br0">
      <inkml:brushProperty name="width" value="0.05" units="cm"/>
      <inkml:brushProperty name="height" value="0.05" units="cm"/>
      <inkml:brushProperty name="color" value="#AE198D"/>
      <inkml:brushProperty name="inkEffects" value="galaxy"/>
      <inkml:brushProperty name="anchorX" value="-1384.37292"/>
      <inkml:brushProperty name="anchorY" value="-1016"/>
      <inkml:brushProperty name="scaleFactor" value="0.5"/>
    </inkml:brush>
  </inkml:definitions>
  <inkml:trace contextRef="#ctx0" brushRef="#br0">0 0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5T20:59:34.503"/>
    </inkml:context>
    <inkml:brush xml:id="br0">
      <inkml:brushProperty name="width" value="0.05" units="cm"/>
      <inkml:brushProperty name="height" value="0.05" units="cm"/>
      <inkml:brushProperty name="color" value="#AE198D"/>
      <inkml:brushProperty name="inkEffects" value="galaxy"/>
      <inkml:brushProperty name="anchorX" value="-1384.37292"/>
      <inkml:brushProperty name="anchorY" value="-1016"/>
      <inkml:brushProperty name="scaleFactor" value="0.5"/>
    </inkml:brush>
  </inkml:definitions>
  <inkml:trace contextRef="#ctx0" brushRef="#br0">0 0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5T20:59:34.503"/>
    </inkml:context>
    <inkml:brush xml:id="br0">
      <inkml:brushProperty name="width" value="0.05" units="cm"/>
      <inkml:brushProperty name="height" value="0.05" units="cm"/>
      <inkml:brushProperty name="color" value="#AE198D"/>
      <inkml:brushProperty name="inkEffects" value="galaxy"/>
      <inkml:brushProperty name="anchorX" value="-1384.37292"/>
      <inkml:brushProperty name="anchorY" value="-1016"/>
      <inkml:brushProperty name="scaleFactor" value="0.5"/>
    </inkml:brush>
  </inkml:definitions>
  <inkml:trace contextRef="#ctx0" brushRef="#br0">0 0 24575,'0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5T20:59:34.503"/>
    </inkml:context>
    <inkml:brush xml:id="br0">
      <inkml:brushProperty name="width" value="0.05" units="cm"/>
      <inkml:brushProperty name="height" value="0.05" units="cm"/>
      <inkml:brushProperty name="color" value="#AE198D"/>
      <inkml:brushProperty name="inkEffects" value="galaxy"/>
      <inkml:brushProperty name="anchorX" value="-1384.37292"/>
      <inkml:brushProperty name="anchorY" value="-1016"/>
      <inkml:brushProperty name="scaleFactor" value="0.5"/>
    </inkml:brush>
  </inkml:definitions>
  <inkml:trace contextRef="#ctx0" brushRef="#br0">0 0 24575,'0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3-05T20:59:34.503"/>
    </inkml:context>
    <inkml:brush xml:id="br0">
      <inkml:brushProperty name="width" value="0.05" units="cm"/>
      <inkml:brushProperty name="height" value="0.05" units="cm"/>
      <inkml:brushProperty name="color" value="#AE198D"/>
      <inkml:brushProperty name="inkEffects" value="galaxy"/>
      <inkml:brushProperty name="anchorX" value="-1384.37292"/>
      <inkml:brushProperty name="anchorY" value="-1016"/>
      <inkml:brushProperty name="scaleFactor" value="0.5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154" cy="341458"/>
          </a:xfrm>
          <a:prstGeom prst="rect">
            <a:avLst/>
          </a:prstGeom>
        </p:spPr>
        <p:txBody>
          <a:bodyPr vert="horz" lIns="80010" tIns="40005" rIns="80010" bIns="40005" rtlCol="0"/>
          <a:lstStyle>
            <a:lvl1pPr algn="l">
              <a:defRPr sz="11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5591938" y="0"/>
            <a:ext cx="4278154" cy="341458"/>
          </a:xfrm>
          <a:prstGeom prst="rect">
            <a:avLst/>
          </a:prstGeom>
        </p:spPr>
        <p:txBody>
          <a:bodyPr vert="horz" lIns="80010" tIns="40005" rIns="80010" bIns="40005" rtlCol="0"/>
          <a:lstStyle>
            <a:lvl1pPr algn="r">
              <a:defRPr sz="1100"/>
            </a:lvl1pPr>
          </a:lstStyle>
          <a:p>
            <a:fld id="{E0A75D09-5A59-418F-B8AA-92C5AF3A8E71}" type="datetimeFigureOut">
              <a:rPr lang="it-IT" smtClean="0"/>
              <a:t>01/07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898775" y="849313"/>
            <a:ext cx="4075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010" tIns="40005" rIns="80010" bIns="40005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987267" y="3271382"/>
            <a:ext cx="7898130" cy="2676584"/>
          </a:xfrm>
          <a:prstGeom prst="rect">
            <a:avLst/>
          </a:prstGeom>
        </p:spPr>
        <p:txBody>
          <a:bodyPr vert="horz" lIns="80010" tIns="40005" rIns="80010" bIns="40005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6456219"/>
            <a:ext cx="4278154" cy="341457"/>
          </a:xfrm>
          <a:prstGeom prst="rect">
            <a:avLst/>
          </a:prstGeom>
        </p:spPr>
        <p:txBody>
          <a:bodyPr vert="horz" lIns="80010" tIns="40005" rIns="80010" bIns="40005" rtlCol="0" anchor="b"/>
          <a:lstStyle>
            <a:lvl1pPr algn="l">
              <a:defRPr sz="11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5591938" y="6456219"/>
            <a:ext cx="4278154" cy="341457"/>
          </a:xfrm>
          <a:prstGeom prst="rect">
            <a:avLst/>
          </a:prstGeom>
        </p:spPr>
        <p:txBody>
          <a:bodyPr vert="horz" lIns="80010" tIns="40005" rIns="80010" bIns="40005" rtlCol="0" anchor="b"/>
          <a:lstStyle>
            <a:lvl1pPr algn="r">
              <a:defRPr sz="1100"/>
            </a:lvl1pPr>
          </a:lstStyle>
          <a:p>
            <a:fld id="{1DD612FB-4553-41F4-96EA-BAAACDC459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114533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D612FB-4553-41F4-96EA-BAAACDC45973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363294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8314E7-99F3-806C-4C1C-6C368BE7C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913518-B452-8572-73F7-85C73183D2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5E0630-E1F7-D3A5-409B-C54A7A4CA8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EA510-D514-2B36-C1A1-7431CAA873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5894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8314E7-99F3-806C-4C1C-6C368BE7C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913518-B452-8572-73F7-85C73183D2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5E0630-E1F7-D3A5-409B-C54A7A4CA8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EA510-D514-2B36-C1A1-7431CAA873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222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062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1E44F1-9A92-DC9E-3A94-7DAA9D2F0F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57A4D1D-2AE2-2F43-0541-37014DA3A4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A81BFAD7-5B79-4F69-B44F-1431D8871C9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EE14BDE-065E-354F-F42E-555C017F53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D612FB-4553-41F4-96EA-BAAACDC45973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73962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D612FB-4553-41F4-96EA-BAAACDC45973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1072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58C8DF-0AB8-6528-99D7-10A47531CD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B456F94F-6B16-FA57-5C97-E0448CBF1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AE58B3D1-B052-0E07-D281-EE1F364388B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48A9E0D-7749-C516-E424-A5B4E507E2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D612FB-4553-41F4-96EA-BAAACDC45973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82872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0975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557D00-19A1-580E-EB69-CAB5552002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04D5DA-5966-9223-DFA2-76B830E26A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86A931-277A-16E1-6451-1CF0089F4A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180E7A-446D-7996-460B-4F32F40875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440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85EDF0-0045-5C4A-6E3E-72089573F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BC7799-538D-C465-0CB4-DB4E1495F1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23A1FF-E6EE-5A3A-C5A8-3A3F79CB94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70A04F-4812-7D21-D323-444DC822B66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973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8314E7-99F3-806C-4C1C-6C368BE7C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913518-B452-8572-73F7-85C73183D22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D5E0630-E1F7-D3A5-409B-C54A7A4CA8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EA510-D514-2B36-C1A1-7431CAA873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897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19964" y="2763206"/>
            <a:ext cx="3633362" cy="1008131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4700016" y="0"/>
            <a:ext cx="7492365" cy="6858000"/>
          </a:xfrm>
          <a:custGeom>
            <a:avLst/>
            <a:gdLst/>
            <a:ahLst/>
            <a:cxnLst/>
            <a:rect l="l" t="t" r="r" b="b"/>
            <a:pathLst>
              <a:path w="7492365" h="6858000">
                <a:moveTo>
                  <a:pt x="7491984" y="0"/>
                </a:moveTo>
                <a:lnTo>
                  <a:pt x="2090928" y="0"/>
                </a:lnTo>
                <a:lnTo>
                  <a:pt x="0" y="6858000"/>
                </a:lnTo>
                <a:lnTo>
                  <a:pt x="2090928" y="6858000"/>
                </a:lnTo>
                <a:lnTo>
                  <a:pt x="7491984" y="6858000"/>
                </a:lnTo>
                <a:lnTo>
                  <a:pt x="7491984" y="0"/>
                </a:lnTo>
                <a:close/>
              </a:path>
            </a:pathLst>
          </a:custGeom>
          <a:solidFill>
            <a:srgbClr val="0066C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27760" y="2046223"/>
            <a:ext cx="10936478" cy="5435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400" b="0" i="0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7748" y="332613"/>
            <a:ext cx="9147252" cy="299720"/>
          </a:xfrm>
        </p:spPr>
        <p:txBody>
          <a:bodyPr lIns="0" tIns="0" rIns="0" bIns="0"/>
          <a:lstStyle>
            <a:lvl1pPr>
              <a:defRPr sz="1800" b="1" i="0">
                <a:solidFill>
                  <a:srgbClr val="0066CC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0066CC"/>
                </a:solidFill>
                <a:latin typeface="Lucida Sans Unicode"/>
                <a:cs typeface="Lucida Sans Unicode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7748" y="332613"/>
            <a:ext cx="9040572" cy="299720"/>
          </a:xfrm>
        </p:spPr>
        <p:txBody>
          <a:bodyPr lIns="0" tIns="0" rIns="0" bIns="0"/>
          <a:lstStyle>
            <a:lvl1pPr>
              <a:defRPr sz="1800" b="1" i="0">
                <a:solidFill>
                  <a:srgbClr val="0066CC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7748" y="332613"/>
            <a:ext cx="9298267" cy="299720"/>
          </a:xfrm>
        </p:spPr>
        <p:txBody>
          <a:bodyPr lIns="0" tIns="0" rIns="0" bIns="0"/>
          <a:lstStyle>
            <a:lvl1pPr>
              <a:defRPr sz="1800" b="1" i="0">
                <a:solidFill>
                  <a:srgbClr val="0066CC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DDD183-9C54-4BF9-9B86-94A339F0BB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07666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04" imgH="405" progId="TCLayout.ActiveDocument.1">
                  <p:embed/>
                </p:oleObj>
              </mc:Choice>
              <mc:Fallback>
                <p:oleObj name="think-cell Slide" r:id="rId8" imgW="404" imgH="40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DDD183-9C54-4BF9-9B86-94A339F0B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7748" y="332613"/>
            <a:ext cx="9425188" cy="299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066CC"/>
                </a:solidFill>
                <a:latin typeface="Trebuchet MS"/>
                <a:cs typeface="Trebuchet MS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082034" y="1696059"/>
            <a:ext cx="7312659" cy="14255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0066CC"/>
                </a:solidFill>
                <a:latin typeface="Lucida Sans Unicode"/>
                <a:cs typeface="Lucida Sans Unicode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image" Target="../media/image4.png"/><Relationship Id="rId7" Type="http://schemas.openxmlformats.org/officeDocument/2006/relationships/diagramLayout" Target="../diagrams/layou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diagramData" Target="../diagrams/data4.xml"/><Relationship Id="rId5" Type="http://schemas.openxmlformats.org/officeDocument/2006/relationships/image" Target="../media/image60.png"/><Relationship Id="rId10" Type="http://schemas.microsoft.com/office/2007/relationships/diagramDrawing" Target="../diagrams/drawing4.xml"/><Relationship Id="rId4" Type="http://schemas.openxmlformats.org/officeDocument/2006/relationships/customXml" Target="../ink/ink4.xml"/><Relationship Id="rId9" Type="http://schemas.openxmlformats.org/officeDocument/2006/relationships/diagramColors" Target="../diagrams/colors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image" Target="../media/image4.png"/><Relationship Id="rId7" Type="http://schemas.openxmlformats.org/officeDocument/2006/relationships/diagramLayout" Target="../diagrams/layout5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diagramData" Target="../diagrams/data5.xml"/><Relationship Id="rId5" Type="http://schemas.openxmlformats.org/officeDocument/2006/relationships/image" Target="../media/image60.png"/><Relationship Id="rId10" Type="http://schemas.microsoft.com/office/2007/relationships/diagramDrawing" Target="../diagrams/drawing5.xml"/><Relationship Id="rId4" Type="http://schemas.openxmlformats.org/officeDocument/2006/relationships/customXml" Target="../ink/ink5.xml"/><Relationship Id="rId9" Type="http://schemas.openxmlformats.org/officeDocument/2006/relationships/diagramColors" Target="../diagrams/colors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image" Target="../media/image4.png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slideLayout" Target="../slideLayouts/slideLayout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notesSlide" Target="../notesSlides/notesSlide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notesSlide" Target="../notesSlides/notesSlide5.xml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6.x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6.png"/><Relationship Id="rId5" Type="http://schemas.openxmlformats.org/officeDocument/2006/relationships/diagramData" Target="../diagrams/data3.xml"/><Relationship Id="rId10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microsoft.com/office/2007/relationships/diagramDrawing" Target="../diagrams/drawing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sv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png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0.png"/><Relationship Id="rId4" Type="http://schemas.openxmlformats.org/officeDocument/2006/relationships/customXml" Target="../ink/ink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1.xml"/><Relationship Id="rId5" Type="http://schemas.openxmlformats.org/officeDocument/2006/relationships/image" Target="../media/image60.png"/><Relationship Id="rId4" Type="http://schemas.openxmlformats.org/officeDocument/2006/relationships/customXml" Target="../ink/ink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2.xml"/><Relationship Id="rId5" Type="http://schemas.openxmlformats.org/officeDocument/2006/relationships/image" Target="../media/image60.png"/><Relationship Id="rId4" Type="http://schemas.openxmlformats.org/officeDocument/2006/relationships/customXml" Target="../ink/ink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EB68012-2CC8-4230-9FA6-4C72B32DF1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4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EB68012-2CC8-4230-9FA6-4C72B32DF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9AB76657-82D2-5274-D52D-7FCFCBB8A519}"/>
              </a:ext>
            </a:extLst>
          </p:cNvPr>
          <p:cNvSpPr txBox="1">
            <a:spLocks/>
          </p:cNvSpPr>
          <p:nvPr/>
        </p:nvSpPr>
        <p:spPr>
          <a:xfrm>
            <a:off x="5698380" y="6472691"/>
            <a:ext cx="1433085" cy="213520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it-IT" kern="0">
                <a:solidFill>
                  <a:schemeClr val="bg1"/>
                </a:solidFill>
                <a:latin typeface="Titillium Web"/>
              </a:rPr>
              <a:t>Luglio</a:t>
            </a:r>
            <a:r>
              <a:rPr lang="en-US" kern="0">
                <a:solidFill>
                  <a:schemeClr val="bg1"/>
                </a:solidFill>
                <a:latin typeface="Titillium Web"/>
              </a:rPr>
              <a:t> </a:t>
            </a:r>
            <a:r>
              <a:rPr lang="en-US" kern="0" dirty="0">
                <a:solidFill>
                  <a:schemeClr val="bg1"/>
                </a:solidFill>
                <a:latin typeface="Titillium Web"/>
              </a:rPr>
              <a:t>2024</a:t>
            </a:r>
            <a:endParaRPr lang="en-US" kern="0" dirty="0">
              <a:solidFill>
                <a:schemeClr val="bg1"/>
              </a:solidFill>
            </a:endParaRPr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C4ABA7C9-6796-4D19-9353-F92C06D8FEFD}"/>
              </a:ext>
            </a:extLst>
          </p:cNvPr>
          <p:cNvSpPr txBox="1">
            <a:spLocks/>
          </p:cNvSpPr>
          <p:nvPr/>
        </p:nvSpPr>
        <p:spPr bwMode="ltGray">
          <a:xfrm>
            <a:off x="6618855" y="2950762"/>
            <a:ext cx="4829484" cy="91757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3600" dirty="0">
                <a:solidFill>
                  <a:srgbClr val="FFFFFF"/>
                </a:solidFill>
                <a:latin typeface="Titillium Web"/>
              </a:rPr>
              <a:t>PIANO TRANSIZIONE 5.0</a:t>
            </a:r>
            <a:endParaRPr lang="it-IT" sz="3600" dirty="0">
              <a:solidFill>
                <a:srgbClr val="FFFFFF"/>
              </a:solidFill>
            </a:endParaRP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39155E5E-7D65-AE58-480D-EB0B1FE3CE73}"/>
              </a:ext>
            </a:extLst>
          </p:cNvPr>
          <p:cNvSpPr/>
          <p:nvPr/>
        </p:nvSpPr>
        <p:spPr>
          <a:xfrm>
            <a:off x="259684" y="5881066"/>
            <a:ext cx="2624194" cy="591625"/>
          </a:xfrm>
          <a:custGeom>
            <a:avLst/>
            <a:gdLst/>
            <a:ahLst/>
            <a:cxnLst/>
            <a:rect l="l" t="t" r="r" b="b"/>
            <a:pathLst>
              <a:path w="5406451" h="1295296">
                <a:moveTo>
                  <a:pt x="0" y="0"/>
                </a:moveTo>
                <a:lnTo>
                  <a:pt x="5406452" y="0"/>
                </a:lnTo>
                <a:lnTo>
                  <a:pt x="5406452" y="1295296"/>
                </a:lnTo>
                <a:lnTo>
                  <a:pt x="0" y="1295296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endParaRPr lang="it-IT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217C0-5BDE-C059-751B-C02DEC422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uppo 79">
            <a:extLst>
              <a:ext uri="{FF2B5EF4-FFF2-40B4-BE49-F238E27FC236}">
                <a16:creationId xmlns:a16="http://schemas.microsoft.com/office/drawing/2014/main" id="{F350C858-AD99-286A-9C19-D65AE1B7EC17}"/>
              </a:ext>
            </a:extLst>
          </p:cNvPr>
          <p:cNvGrpSpPr/>
          <p:nvPr/>
        </p:nvGrpSpPr>
        <p:grpSpPr>
          <a:xfrm>
            <a:off x="0" y="5969746"/>
            <a:ext cx="12192000" cy="900641"/>
            <a:chOff x="0" y="8954619"/>
            <a:chExt cx="18288000" cy="1350961"/>
          </a:xfrm>
        </p:grpSpPr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6322DAB0-43D6-4258-38F2-EB6633850FCC}"/>
                </a:ext>
              </a:extLst>
            </p:cNvPr>
            <p:cNvSpPr/>
            <p:nvPr/>
          </p:nvSpPr>
          <p:spPr>
            <a:xfrm>
              <a:off x="0" y="8954619"/>
              <a:ext cx="18288000" cy="1350961"/>
            </a:xfrm>
            <a:prstGeom prst="rect">
              <a:avLst/>
            </a:prstGeom>
            <a:solidFill>
              <a:srgbClr val="0066CC"/>
            </a:solidFill>
          </p:spPr>
          <p:txBody>
            <a:bodyPr/>
            <a:lstStyle/>
            <a:p>
              <a:endParaRPr lang="it-IT" sz="1200" dirty="0"/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3D12189D-3368-FCD0-D07F-195FED16E558}"/>
                </a:ext>
              </a:extLst>
            </p:cNvPr>
            <p:cNvSpPr/>
            <p:nvPr/>
          </p:nvSpPr>
          <p:spPr>
            <a:xfrm>
              <a:off x="1395421" y="9105860"/>
              <a:ext cx="3773510" cy="1058526"/>
            </a:xfrm>
            <a:custGeom>
              <a:avLst/>
              <a:gdLst/>
              <a:ahLst/>
              <a:cxnLst/>
              <a:rect l="l" t="t" r="r" b="b"/>
              <a:pathLst>
                <a:path w="3773510" h="1058526">
                  <a:moveTo>
                    <a:pt x="0" y="0"/>
                  </a:moveTo>
                  <a:lnTo>
                    <a:pt x="3773510" y="0"/>
                  </a:lnTo>
                  <a:lnTo>
                    <a:pt x="3773510" y="1058526"/>
                  </a:lnTo>
                  <a:lnTo>
                    <a:pt x="0" y="105852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it-IT" sz="1200"/>
            </a:p>
          </p:txBody>
        </p:sp>
        <p:sp>
          <p:nvSpPr>
            <p:cNvPr id="22" name="TextBox 5">
              <a:extLst>
                <a:ext uri="{FF2B5EF4-FFF2-40B4-BE49-F238E27FC236}">
                  <a16:creationId xmlns:a16="http://schemas.microsoft.com/office/drawing/2014/main" id="{42A3D863-B50D-5560-6EF3-C63ABC87ADBC}"/>
                </a:ext>
              </a:extLst>
            </p:cNvPr>
            <p:cNvSpPr txBox="1"/>
            <p:nvPr/>
          </p:nvSpPr>
          <p:spPr>
            <a:xfrm>
              <a:off x="7946393" y="9285034"/>
              <a:ext cx="9720788" cy="3349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1710"/>
                </a:lnSpc>
              </a:pPr>
              <a:endParaRPr lang="en-US" sz="1555" dirty="0">
                <a:solidFill>
                  <a:srgbClr val="FFFFFF"/>
                </a:solidFill>
                <a:latin typeface="Titillium Web Bold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59C85D-A88D-1153-396A-435B92ABF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Oneri documentali e procedura</a:t>
            </a:r>
          </a:p>
        </p:txBody>
      </p:sp>
      <p:sp>
        <p:nvSpPr>
          <p:cNvPr id="7" name="object 41">
            <a:extLst>
              <a:ext uri="{FF2B5EF4-FFF2-40B4-BE49-F238E27FC236}">
                <a16:creationId xmlns:a16="http://schemas.microsoft.com/office/drawing/2014/main" id="{B36E38D0-1785-D819-E568-AD7E8632340E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16" name="Input penna 15">
                <a:extLst>
                  <a:ext uri="{FF2B5EF4-FFF2-40B4-BE49-F238E27FC236}">
                    <a16:creationId xmlns:a16="http://schemas.microsoft.com/office/drawing/2014/main" id="{713042D2-60BD-6715-637D-68477D30F6E7}"/>
                  </a:ext>
                </a:extLst>
              </p14:cNvPr>
              <p14:cNvContentPartPr/>
              <p14:nvPr/>
            </p14:nvContentPartPr>
            <p14:xfrm>
              <a:off x="5997565" y="2231756"/>
              <a:ext cx="360" cy="360"/>
            </p14:xfrm>
          </p:contentPart>
        </mc:Choice>
        <mc:Fallback xmlns="">
          <p:pic>
            <p:nvPicPr>
              <p:cNvPr id="16" name="Input penna 15">
                <a:extLst>
                  <a:ext uri="{FF2B5EF4-FFF2-40B4-BE49-F238E27FC236}">
                    <a16:creationId xmlns:a16="http://schemas.microsoft.com/office/drawing/2014/main" id="{713042D2-60BD-6715-637D-68477D30F6E7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88565" y="2222756"/>
                <a:ext cx="18000" cy="18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4" name="Diagramma 3"/>
          <p:cNvGraphicFramePr/>
          <p:nvPr>
            <p:extLst>
              <p:ext uri="{D42A27DB-BD31-4B8C-83A1-F6EECF244321}">
                <p14:modId xmlns:p14="http://schemas.microsoft.com/office/powerpoint/2010/main" val="2635396841"/>
              </p:ext>
            </p:extLst>
          </p:nvPr>
        </p:nvGraphicFramePr>
        <p:xfrm>
          <a:off x="1730477" y="812290"/>
          <a:ext cx="8701549" cy="5157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" name="Rettangolo con angoli ritagliati in diagonale 2"/>
          <p:cNvSpPr/>
          <p:nvPr/>
        </p:nvSpPr>
        <p:spPr>
          <a:xfrm>
            <a:off x="7749781" y="1077158"/>
            <a:ext cx="3608324" cy="403867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altLang="it-IT" sz="1600" dirty="0">
              <a:solidFill>
                <a:schemeClr val="tx2"/>
              </a:solidFill>
              <a:ea typeface="Verdan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it-IT" altLang="it-IT" sz="1600" dirty="0">
                <a:solidFill>
                  <a:srgbClr val="0066CC"/>
                </a:solidFill>
                <a:ea typeface="Verdana" panose="020B0604030504040204" pitchFamily="34" charset="0"/>
                <a:cs typeface="Tahoma" panose="020B0604030504040204" pitchFamily="34" charset="0"/>
              </a:rPr>
              <a:t>Progetto e </a:t>
            </a:r>
            <a:r>
              <a:rPr lang="it-IT" sz="1600" dirty="0">
                <a:solidFill>
                  <a:srgbClr val="0066CC"/>
                </a:solidFill>
                <a:ea typeface="Verdana" panose="020B0604030504040204" pitchFamily="34" charset="0"/>
              </a:rPr>
              <a:t>investimenti programmati</a:t>
            </a:r>
            <a:endParaRPr lang="it-IT" sz="1600" dirty="0">
              <a:solidFill>
                <a:srgbClr val="0066CC"/>
              </a:solidFill>
            </a:endParaRPr>
          </a:p>
          <a:p>
            <a:pPr algn="ctr"/>
            <a:endParaRPr lang="it-IT" sz="1600" dirty="0"/>
          </a:p>
        </p:txBody>
      </p:sp>
      <p:sp>
        <p:nvSpPr>
          <p:cNvPr id="6" name="Rettangolo con angoli ritagliati in diagonale 2">
            <a:extLst>
              <a:ext uri="{FF2B5EF4-FFF2-40B4-BE49-F238E27FC236}">
                <a16:creationId xmlns:a16="http://schemas.microsoft.com/office/drawing/2014/main" id="{BF7CEAA5-43FA-CAF0-CDE9-523C8BCD9FB6}"/>
              </a:ext>
            </a:extLst>
          </p:cNvPr>
          <p:cNvSpPr/>
          <p:nvPr/>
        </p:nvSpPr>
        <p:spPr>
          <a:xfrm>
            <a:off x="7767486" y="1471771"/>
            <a:ext cx="3950383" cy="403867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dirty="0">
                <a:solidFill>
                  <a:srgbClr val="0066CC"/>
                </a:solidFill>
                <a:ea typeface="Verdana" panose="020B0604030504040204" pitchFamily="34" charset="0"/>
              </a:rPr>
              <a:t>Certificazione risparmio energetico previsto</a:t>
            </a:r>
            <a:endParaRPr lang="it-IT" sz="1600" dirty="0">
              <a:solidFill>
                <a:srgbClr val="0066CC"/>
              </a:solidFill>
            </a:endParaRPr>
          </a:p>
        </p:txBody>
      </p:sp>
      <p:sp>
        <p:nvSpPr>
          <p:cNvPr id="8" name="Rettangolo con angoli ritagliati in diagonale 2">
            <a:extLst>
              <a:ext uri="{FF2B5EF4-FFF2-40B4-BE49-F238E27FC236}">
                <a16:creationId xmlns:a16="http://schemas.microsoft.com/office/drawing/2014/main" id="{70120466-BF87-A9FD-F2DD-42A4849DBCCC}"/>
              </a:ext>
            </a:extLst>
          </p:cNvPr>
          <p:cNvSpPr/>
          <p:nvPr/>
        </p:nvSpPr>
        <p:spPr>
          <a:xfrm>
            <a:off x="446587" y="2678171"/>
            <a:ext cx="3585220" cy="421353"/>
          </a:xfrm>
          <a:prstGeom prst="snip2DiagRect">
            <a:avLst>
              <a:gd name="adj1" fmla="val 0"/>
              <a:gd name="adj2" fmla="val 16667"/>
            </a:avLst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kern="0" dirty="0">
                <a:solidFill>
                  <a:srgbClr val="0066CC"/>
                </a:solidFill>
              </a:rPr>
              <a:t>Progetto e investimenti realizzati</a:t>
            </a:r>
          </a:p>
        </p:txBody>
      </p:sp>
      <p:sp>
        <p:nvSpPr>
          <p:cNvPr id="9" name="Rettangolo con angoli ritagliati in diagonale 2">
            <a:extLst>
              <a:ext uri="{FF2B5EF4-FFF2-40B4-BE49-F238E27FC236}">
                <a16:creationId xmlns:a16="http://schemas.microsoft.com/office/drawing/2014/main" id="{8CF7C1AC-03DF-2C2F-2100-4884D506CAF4}"/>
              </a:ext>
            </a:extLst>
          </p:cNvPr>
          <p:cNvSpPr/>
          <p:nvPr/>
        </p:nvSpPr>
        <p:spPr>
          <a:xfrm>
            <a:off x="469097" y="3097194"/>
            <a:ext cx="3955420" cy="421353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kern="0" dirty="0">
                <a:solidFill>
                  <a:srgbClr val="0066CC"/>
                </a:solidFill>
                <a:ea typeface="Verdana" panose="020B0604030504040204" pitchFamily="34" charset="0"/>
              </a:rPr>
              <a:t>Certificazione risparmio energetico effettivo</a:t>
            </a:r>
            <a:endParaRPr lang="it-IT" sz="1600" kern="0" dirty="0">
              <a:solidFill>
                <a:srgbClr val="0066CC"/>
              </a:solidFill>
            </a:endParaRPr>
          </a:p>
        </p:txBody>
      </p:sp>
      <p:sp>
        <p:nvSpPr>
          <p:cNvPr id="10" name="Rettangolo con angoli ritagliati in diagonale 2">
            <a:extLst>
              <a:ext uri="{FF2B5EF4-FFF2-40B4-BE49-F238E27FC236}">
                <a16:creationId xmlns:a16="http://schemas.microsoft.com/office/drawing/2014/main" id="{E29E38E4-EC6A-1325-3D64-27C386B85FAA}"/>
              </a:ext>
            </a:extLst>
          </p:cNvPr>
          <p:cNvSpPr/>
          <p:nvPr/>
        </p:nvSpPr>
        <p:spPr>
          <a:xfrm>
            <a:off x="7842484" y="4282972"/>
            <a:ext cx="3608323" cy="403867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kern="0" dirty="0">
                <a:solidFill>
                  <a:srgbClr val="0066CC"/>
                </a:solidFill>
              </a:rPr>
              <a:t>Entro 2025, unica soluzione</a:t>
            </a:r>
          </a:p>
        </p:txBody>
      </p:sp>
      <p:sp>
        <p:nvSpPr>
          <p:cNvPr id="11" name="Rettangolo con angoli ritagliati in diagonale 2">
            <a:extLst>
              <a:ext uri="{FF2B5EF4-FFF2-40B4-BE49-F238E27FC236}">
                <a16:creationId xmlns:a16="http://schemas.microsoft.com/office/drawing/2014/main" id="{1F117897-6327-B386-AFBC-DB38085DAEE8}"/>
              </a:ext>
            </a:extLst>
          </p:cNvPr>
          <p:cNvSpPr/>
          <p:nvPr/>
        </p:nvSpPr>
        <p:spPr>
          <a:xfrm>
            <a:off x="7858061" y="4668331"/>
            <a:ext cx="3864505" cy="403867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kern="0" dirty="0">
                <a:solidFill>
                  <a:srgbClr val="0066CC"/>
                </a:solidFill>
              </a:rPr>
              <a:t>Dal 2026, cinque quote annuali</a:t>
            </a:r>
          </a:p>
        </p:txBody>
      </p:sp>
      <p:sp>
        <p:nvSpPr>
          <p:cNvPr id="13" name="Rettangolo con angoli ritagliati in diagonale 2">
            <a:extLst>
              <a:ext uri="{FF2B5EF4-FFF2-40B4-BE49-F238E27FC236}">
                <a16:creationId xmlns:a16="http://schemas.microsoft.com/office/drawing/2014/main" id="{5B476872-326C-F478-53A8-BEE46ED0E8CF}"/>
              </a:ext>
            </a:extLst>
          </p:cNvPr>
          <p:cNvSpPr/>
          <p:nvPr/>
        </p:nvSpPr>
        <p:spPr>
          <a:xfrm>
            <a:off x="8413459" y="2124281"/>
            <a:ext cx="3336881" cy="403867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b="1" dirty="0">
                <a:solidFill>
                  <a:srgbClr val="0066CC"/>
                </a:solidFill>
              </a:rPr>
              <a:t>Credito d’imposta prenotato</a:t>
            </a:r>
          </a:p>
        </p:txBody>
      </p:sp>
      <p:sp>
        <p:nvSpPr>
          <p:cNvPr id="17" name="Rettangolo con angoli ritagliati in diagonale 2">
            <a:extLst>
              <a:ext uri="{FF2B5EF4-FFF2-40B4-BE49-F238E27FC236}">
                <a16:creationId xmlns:a16="http://schemas.microsoft.com/office/drawing/2014/main" id="{68B2114A-8158-2298-5AA5-3A1FF9A135D9}"/>
              </a:ext>
            </a:extLst>
          </p:cNvPr>
          <p:cNvSpPr/>
          <p:nvPr/>
        </p:nvSpPr>
        <p:spPr>
          <a:xfrm>
            <a:off x="810474" y="3891702"/>
            <a:ext cx="3345343" cy="403867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b="1" dirty="0">
                <a:solidFill>
                  <a:srgbClr val="0066CC"/>
                </a:solidFill>
              </a:rPr>
              <a:t>Credito d’imposta spettante</a:t>
            </a:r>
          </a:p>
        </p:txBody>
      </p:sp>
      <p:cxnSp>
        <p:nvCxnSpPr>
          <p:cNvPr id="19" name="Connettore 2 18">
            <a:extLst>
              <a:ext uri="{FF2B5EF4-FFF2-40B4-BE49-F238E27FC236}">
                <a16:creationId xmlns:a16="http://schemas.microsoft.com/office/drawing/2014/main" id="{A7CA9321-0DD0-AC39-7212-2E60456524FC}"/>
              </a:ext>
            </a:extLst>
          </p:cNvPr>
          <p:cNvCxnSpPr/>
          <p:nvPr/>
        </p:nvCxnSpPr>
        <p:spPr>
          <a:xfrm>
            <a:off x="2494473" y="3575293"/>
            <a:ext cx="0" cy="269762"/>
          </a:xfrm>
          <a:prstGeom prst="straightConnector1">
            <a:avLst/>
          </a:prstGeom>
          <a:ln w="38100" cap="flat" cmpd="sng" algn="ctr">
            <a:solidFill>
              <a:srgbClr val="0066C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05D6CCAF-40E0-909A-65B9-BBCDB60C3691}"/>
              </a:ext>
            </a:extLst>
          </p:cNvPr>
          <p:cNvCxnSpPr/>
          <p:nvPr/>
        </p:nvCxnSpPr>
        <p:spPr>
          <a:xfrm>
            <a:off x="10052739" y="1875638"/>
            <a:ext cx="0" cy="269762"/>
          </a:xfrm>
          <a:prstGeom prst="straightConnector1">
            <a:avLst/>
          </a:prstGeom>
          <a:ln w="38100" cap="flat" cmpd="sng" algn="ctr">
            <a:solidFill>
              <a:srgbClr val="0066C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Connettore 2 30">
            <a:extLst>
              <a:ext uri="{FF2B5EF4-FFF2-40B4-BE49-F238E27FC236}">
                <a16:creationId xmlns:a16="http://schemas.microsoft.com/office/drawing/2014/main" id="{8270BED1-2E9A-A6F8-B6C8-FA6A6D721749}"/>
              </a:ext>
            </a:extLst>
          </p:cNvPr>
          <p:cNvCxnSpPr/>
          <p:nvPr/>
        </p:nvCxnSpPr>
        <p:spPr>
          <a:xfrm>
            <a:off x="9983169" y="5102745"/>
            <a:ext cx="0" cy="269762"/>
          </a:xfrm>
          <a:prstGeom prst="straightConnector1">
            <a:avLst/>
          </a:prstGeom>
          <a:ln w="38100" cap="flat" cmpd="sng" algn="ctr">
            <a:solidFill>
              <a:srgbClr val="0066C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Rettangolo con angoli ritagliati in diagonale 2">
            <a:extLst>
              <a:ext uri="{FF2B5EF4-FFF2-40B4-BE49-F238E27FC236}">
                <a16:creationId xmlns:a16="http://schemas.microsoft.com/office/drawing/2014/main" id="{833AA571-F05A-05B3-49FF-5B3DD692F835}"/>
              </a:ext>
            </a:extLst>
          </p:cNvPr>
          <p:cNvSpPr/>
          <p:nvPr/>
        </p:nvSpPr>
        <p:spPr>
          <a:xfrm>
            <a:off x="8413517" y="5372507"/>
            <a:ext cx="3337849" cy="420724"/>
          </a:xfrm>
          <a:prstGeom prst="snip2Diag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it-IT" sz="1600" b="1" dirty="0">
                <a:solidFill>
                  <a:srgbClr val="0066CC"/>
                </a:solidFill>
              </a:rPr>
              <a:t>Utilizzo credito d’imposta spettante</a:t>
            </a:r>
          </a:p>
        </p:txBody>
      </p:sp>
    </p:spTree>
    <p:extLst>
      <p:ext uri="{BB962C8B-B14F-4D97-AF65-F5344CB8AC3E}">
        <p14:creationId xmlns:p14="http://schemas.microsoft.com/office/powerpoint/2010/main" val="14844241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217C0-5BDE-C059-751B-C02DEC422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uppo 79">
            <a:extLst>
              <a:ext uri="{FF2B5EF4-FFF2-40B4-BE49-F238E27FC236}">
                <a16:creationId xmlns:a16="http://schemas.microsoft.com/office/drawing/2014/main" id="{F350C858-AD99-286A-9C19-D65AE1B7EC17}"/>
              </a:ext>
            </a:extLst>
          </p:cNvPr>
          <p:cNvGrpSpPr/>
          <p:nvPr/>
        </p:nvGrpSpPr>
        <p:grpSpPr>
          <a:xfrm>
            <a:off x="0" y="5969746"/>
            <a:ext cx="12192000" cy="900641"/>
            <a:chOff x="0" y="8954619"/>
            <a:chExt cx="18288000" cy="1350961"/>
          </a:xfrm>
        </p:grpSpPr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6322DAB0-43D6-4258-38F2-EB6633850FCC}"/>
                </a:ext>
              </a:extLst>
            </p:cNvPr>
            <p:cNvSpPr/>
            <p:nvPr/>
          </p:nvSpPr>
          <p:spPr>
            <a:xfrm>
              <a:off x="0" y="8954619"/>
              <a:ext cx="18288000" cy="1350961"/>
            </a:xfrm>
            <a:prstGeom prst="rect">
              <a:avLst/>
            </a:prstGeom>
            <a:solidFill>
              <a:srgbClr val="0066CC"/>
            </a:solidFill>
          </p:spPr>
          <p:txBody>
            <a:bodyPr/>
            <a:lstStyle/>
            <a:p>
              <a:endParaRPr lang="it-IT" sz="1200" dirty="0"/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3D12189D-3368-FCD0-D07F-195FED16E558}"/>
                </a:ext>
              </a:extLst>
            </p:cNvPr>
            <p:cNvSpPr/>
            <p:nvPr/>
          </p:nvSpPr>
          <p:spPr>
            <a:xfrm>
              <a:off x="1395421" y="9105860"/>
              <a:ext cx="3773510" cy="1058526"/>
            </a:xfrm>
            <a:custGeom>
              <a:avLst/>
              <a:gdLst/>
              <a:ahLst/>
              <a:cxnLst/>
              <a:rect l="l" t="t" r="r" b="b"/>
              <a:pathLst>
                <a:path w="3773510" h="1058526">
                  <a:moveTo>
                    <a:pt x="0" y="0"/>
                  </a:moveTo>
                  <a:lnTo>
                    <a:pt x="3773510" y="0"/>
                  </a:lnTo>
                  <a:lnTo>
                    <a:pt x="3773510" y="1058526"/>
                  </a:lnTo>
                  <a:lnTo>
                    <a:pt x="0" y="105852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it-IT" sz="1200"/>
            </a:p>
          </p:txBody>
        </p:sp>
        <p:sp>
          <p:nvSpPr>
            <p:cNvPr id="22" name="TextBox 5">
              <a:extLst>
                <a:ext uri="{FF2B5EF4-FFF2-40B4-BE49-F238E27FC236}">
                  <a16:creationId xmlns:a16="http://schemas.microsoft.com/office/drawing/2014/main" id="{42A3D863-B50D-5560-6EF3-C63ABC87ADBC}"/>
                </a:ext>
              </a:extLst>
            </p:cNvPr>
            <p:cNvSpPr txBox="1"/>
            <p:nvPr/>
          </p:nvSpPr>
          <p:spPr>
            <a:xfrm>
              <a:off x="7946393" y="9285034"/>
              <a:ext cx="9720788" cy="3349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1710"/>
                </a:lnSpc>
              </a:pPr>
              <a:endParaRPr lang="en-US" sz="1555" dirty="0">
                <a:solidFill>
                  <a:srgbClr val="FFFFFF"/>
                </a:solidFill>
                <a:latin typeface="Titillium Web Bold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59C85D-A88D-1153-396A-435B92ABF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Soggetti coinvolti nella procedura </a:t>
            </a:r>
          </a:p>
        </p:txBody>
      </p:sp>
      <p:sp>
        <p:nvSpPr>
          <p:cNvPr id="7" name="object 41">
            <a:extLst>
              <a:ext uri="{FF2B5EF4-FFF2-40B4-BE49-F238E27FC236}">
                <a16:creationId xmlns:a16="http://schemas.microsoft.com/office/drawing/2014/main" id="{B36E38D0-1785-D819-E568-AD7E8632340E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16" name="Input penna 15">
                <a:extLst>
                  <a:ext uri="{FF2B5EF4-FFF2-40B4-BE49-F238E27FC236}">
                    <a16:creationId xmlns:a16="http://schemas.microsoft.com/office/drawing/2014/main" id="{713042D2-60BD-6715-637D-68477D30F6E7}"/>
                  </a:ext>
                </a:extLst>
              </p14:cNvPr>
              <p14:cNvContentPartPr/>
              <p14:nvPr/>
            </p14:nvContentPartPr>
            <p14:xfrm>
              <a:off x="5997565" y="2231756"/>
              <a:ext cx="360" cy="360"/>
            </p14:xfrm>
          </p:contentPart>
        </mc:Choice>
        <mc:Fallback xmlns="">
          <p:pic>
            <p:nvPicPr>
              <p:cNvPr id="16" name="Input penna 15">
                <a:extLst>
                  <a:ext uri="{FF2B5EF4-FFF2-40B4-BE49-F238E27FC236}">
                    <a16:creationId xmlns:a16="http://schemas.microsoft.com/office/drawing/2014/main" id="{713042D2-60BD-6715-637D-68477D30F6E7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88565" y="2222756"/>
                <a:ext cx="18000" cy="18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3" name="Diagramma 12">
            <a:extLst>
              <a:ext uri="{FF2B5EF4-FFF2-40B4-BE49-F238E27FC236}">
                <a16:creationId xmlns:a16="http://schemas.microsoft.com/office/drawing/2014/main" id="{2A05B38D-45DA-64C4-00C6-3DE9D76579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1155081"/>
              </p:ext>
            </p:extLst>
          </p:nvPr>
        </p:nvGraphicFramePr>
        <p:xfrm>
          <a:off x="930281" y="1143000"/>
          <a:ext cx="10231362" cy="471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81790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" name="Group 141">
            <a:extLst>
              <a:ext uri="{FF2B5EF4-FFF2-40B4-BE49-F238E27FC236}">
                <a16:creationId xmlns:a16="http://schemas.microsoft.com/office/drawing/2014/main" id="{7444D57C-CB34-4996-A7D6-D2AD54ACCFB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 rot="19787417">
            <a:off x="4151912" y="1509720"/>
            <a:ext cx="4228666" cy="4228666"/>
            <a:chOff x="4191000" y="1524000"/>
            <a:chExt cx="3810000" cy="3810000"/>
          </a:xfrm>
        </p:grpSpPr>
        <p:sp>
          <p:nvSpPr>
            <p:cNvPr id="143" name="Block Arc 142">
              <a:extLst>
                <a:ext uri="{FF2B5EF4-FFF2-40B4-BE49-F238E27FC236}">
                  <a16:creationId xmlns:a16="http://schemas.microsoft.com/office/drawing/2014/main" id="{F567CDB0-A074-49E4-A2B8-589D2DDE2FE2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8017234"/>
                <a:gd name="adj2" fmla="val 7256177"/>
                <a:gd name="adj3" fmla="val 18763"/>
              </a:avLst>
            </a:prstGeom>
            <a:solidFill>
              <a:srgbClr val="00B050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39" name="Block Arc 238">
              <a:extLst>
                <a:ext uri="{FF2B5EF4-FFF2-40B4-BE49-F238E27FC236}">
                  <a16:creationId xmlns:a16="http://schemas.microsoft.com/office/drawing/2014/main" id="{B8078AF7-8979-4589-9119-C77B0D4A05E2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7242148"/>
                <a:gd name="adj2" fmla="val 18012440"/>
                <a:gd name="adj3" fmla="val 18758"/>
              </a:avLst>
            </a:prstGeom>
            <a:solidFill>
              <a:srgbClr val="0070C0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0" name="Block Arc 239" hidden="1">
              <a:extLst>
                <a:ext uri="{FF2B5EF4-FFF2-40B4-BE49-F238E27FC236}">
                  <a16:creationId xmlns:a16="http://schemas.microsoft.com/office/drawing/2014/main" id="{F3D62CA9-6CE4-4A3E-8200-E15E02CA6290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16500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</a:endParaRPr>
            </a:p>
          </p:txBody>
        </p:sp>
        <p:sp>
          <p:nvSpPr>
            <p:cNvPr id="241" name="Block Arc 240" hidden="1">
              <a:extLst>
                <a:ext uri="{FF2B5EF4-FFF2-40B4-BE49-F238E27FC236}">
                  <a16:creationId xmlns:a16="http://schemas.microsoft.com/office/drawing/2014/main" id="{8668B1D8-90A7-4205-99DA-3EF953B2FA52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7280000"/>
                <a:gd name="adj2" fmla="val 0"/>
                <a:gd name="adj3" fmla="val 16500"/>
              </a:avLst>
            </a:prstGeom>
            <a:solidFill>
              <a:srgbClr val="EB641B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2" name="Block Arc 241" hidden="1">
              <a:extLst>
                <a:ext uri="{FF2B5EF4-FFF2-40B4-BE49-F238E27FC236}">
                  <a16:creationId xmlns:a16="http://schemas.microsoft.com/office/drawing/2014/main" id="{BAC5EF76-E8D7-4B8C-BD57-DBFB1C606583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3" name="Block Arc 242" hidden="1">
              <a:extLst>
                <a:ext uri="{FF2B5EF4-FFF2-40B4-BE49-F238E27FC236}">
                  <a16:creationId xmlns:a16="http://schemas.microsoft.com/office/drawing/2014/main" id="{B05DD24B-27EC-43F9-B956-2FB62D7FE8A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4" name="Block Arc 243" hidden="1">
              <a:extLst>
                <a:ext uri="{FF2B5EF4-FFF2-40B4-BE49-F238E27FC236}">
                  <a16:creationId xmlns:a16="http://schemas.microsoft.com/office/drawing/2014/main" id="{42FBA177-5EC1-4026-B749-8CE264A0BFE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5" name="Block Arc 244" hidden="1">
              <a:extLst>
                <a:ext uri="{FF2B5EF4-FFF2-40B4-BE49-F238E27FC236}">
                  <a16:creationId xmlns:a16="http://schemas.microsoft.com/office/drawing/2014/main" id="{50A01F8C-0AE6-41BF-B288-5CFF7EAE71A9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6" name="Block Arc 245" hidden="1">
              <a:extLst>
                <a:ext uri="{FF2B5EF4-FFF2-40B4-BE49-F238E27FC236}">
                  <a16:creationId xmlns:a16="http://schemas.microsoft.com/office/drawing/2014/main" id="{4DD96EDC-9784-4B1C-BC0A-E04722C176B9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7" name="Block Arc 246" hidden="1">
              <a:extLst>
                <a:ext uri="{FF2B5EF4-FFF2-40B4-BE49-F238E27FC236}">
                  <a16:creationId xmlns:a16="http://schemas.microsoft.com/office/drawing/2014/main" id="{3AB0B7AA-03E4-4A51-9F04-3228D6CEFDD6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8" name="Block Arc 247" hidden="1">
              <a:extLst>
                <a:ext uri="{FF2B5EF4-FFF2-40B4-BE49-F238E27FC236}">
                  <a16:creationId xmlns:a16="http://schemas.microsoft.com/office/drawing/2014/main" id="{9C9994D1-B655-47BF-9519-38FB9A3F69B8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49" name="Block Arc 248" hidden="1">
              <a:extLst>
                <a:ext uri="{FF2B5EF4-FFF2-40B4-BE49-F238E27FC236}">
                  <a16:creationId xmlns:a16="http://schemas.microsoft.com/office/drawing/2014/main" id="{40EF3376-984D-43FB-B195-6BCEDD6CFB32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0" name="Block Arc 249" hidden="1">
              <a:extLst>
                <a:ext uri="{FF2B5EF4-FFF2-40B4-BE49-F238E27FC236}">
                  <a16:creationId xmlns:a16="http://schemas.microsoft.com/office/drawing/2014/main" id="{96699ED9-DD84-4ADE-AE18-8C7698A5F666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1" name="Block Arc 250" hidden="1">
              <a:extLst>
                <a:ext uri="{FF2B5EF4-FFF2-40B4-BE49-F238E27FC236}">
                  <a16:creationId xmlns:a16="http://schemas.microsoft.com/office/drawing/2014/main" id="{F2947DCF-A37D-4E77-B3BF-237B2A2E653F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2" name="Block Arc 251" hidden="1">
              <a:extLst>
                <a:ext uri="{FF2B5EF4-FFF2-40B4-BE49-F238E27FC236}">
                  <a16:creationId xmlns:a16="http://schemas.microsoft.com/office/drawing/2014/main" id="{B8AC8DC1-CE43-4A86-A94D-6341382BD467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3" name="Block Arc 252" hidden="1">
              <a:extLst>
                <a:ext uri="{FF2B5EF4-FFF2-40B4-BE49-F238E27FC236}">
                  <a16:creationId xmlns:a16="http://schemas.microsoft.com/office/drawing/2014/main" id="{DC068BDB-9404-4917-8A43-B00B9B81BF65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4" name="Block Arc 253" hidden="1">
              <a:extLst>
                <a:ext uri="{FF2B5EF4-FFF2-40B4-BE49-F238E27FC236}">
                  <a16:creationId xmlns:a16="http://schemas.microsoft.com/office/drawing/2014/main" id="{346B8F5D-FDBA-49A3-A870-3943A8F2246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5" name="Block Arc 254" hidden="1">
              <a:extLst>
                <a:ext uri="{FF2B5EF4-FFF2-40B4-BE49-F238E27FC236}">
                  <a16:creationId xmlns:a16="http://schemas.microsoft.com/office/drawing/2014/main" id="{D312F406-BD2F-4A3E-8C57-0A66B58F202A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6" name="Block Arc 255" hidden="1">
              <a:extLst>
                <a:ext uri="{FF2B5EF4-FFF2-40B4-BE49-F238E27FC236}">
                  <a16:creationId xmlns:a16="http://schemas.microsoft.com/office/drawing/2014/main" id="{E88625F6-21A7-4308-9C58-8D436F33D956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7" name="Block Arc 256" hidden="1">
              <a:extLst>
                <a:ext uri="{FF2B5EF4-FFF2-40B4-BE49-F238E27FC236}">
                  <a16:creationId xmlns:a16="http://schemas.microsoft.com/office/drawing/2014/main" id="{C1E119ED-C61F-4FC3-BB2F-6F51CB69419E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8" name="Block Arc 257" hidden="1">
              <a:extLst>
                <a:ext uri="{FF2B5EF4-FFF2-40B4-BE49-F238E27FC236}">
                  <a16:creationId xmlns:a16="http://schemas.microsoft.com/office/drawing/2014/main" id="{6E9C97CD-5C0B-4E47-8916-51C3CF5452AC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59" name="Block Arc 258" hidden="1">
              <a:extLst>
                <a:ext uri="{FF2B5EF4-FFF2-40B4-BE49-F238E27FC236}">
                  <a16:creationId xmlns:a16="http://schemas.microsoft.com/office/drawing/2014/main" id="{96412566-4161-47D3-A385-3A8443F5627B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0" name="Block Arc 259" hidden="1">
              <a:extLst>
                <a:ext uri="{FF2B5EF4-FFF2-40B4-BE49-F238E27FC236}">
                  <a16:creationId xmlns:a16="http://schemas.microsoft.com/office/drawing/2014/main" id="{BFFC66F0-66EE-45E0-A7DA-D8A36D94750E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1" name="Block Arc 260" hidden="1">
              <a:extLst>
                <a:ext uri="{FF2B5EF4-FFF2-40B4-BE49-F238E27FC236}">
                  <a16:creationId xmlns:a16="http://schemas.microsoft.com/office/drawing/2014/main" id="{8DD31787-CE12-4EE7-8DEF-812FC8437A78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2" name="Block Arc 261" hidden="1">
              <a:extLst>
                <a:ext uri="{FF2B5EF4-FFF2-40B4-BE49-F238E27FC236}">
                  <a16:creationId xmlns:a16="http://schemas.microsoft.com/office/drawing/2014/main" id="{B89D7ADE-4A32-4A0B-8D67-E5D9E8DB3B25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3" name="Block Arc 262" hidden="1">
              <a:extLst>
                <a:ext uri="{FF2B5EF4-FFF2-40B4-BE49-F238E27FC236}">
                  <a16:creationId xmlns:a16="http://schemas.microsoft.com/office/drawing/2014/main" id="{11FE45E9-8F2C-4FBA-A258-078C20C17FF1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4" name="Block Arc 263" hidden="1">
              <a:extLst>
                <a:ext uri="{FF2B5EF4-FFF2-40B4-BE49-F238E27FC236}">
                  <a16:creationId xmlns:a16="http://schemas.microsoft.com/office/drawing/2014/main" id="{0CC512E5-9C37-4673-A235-4F817656D1BA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5" name="Block Arc 264" hidden="1">
              <a:extLst>
                <a:ext uri="{FF2B5EF4-FFF2-40B4-BE49-F238E27FC236}">
                  <a16:creationId xmlns:a16="http://schemas.microsoft.com/office/drawing/2014/main" id="{67EEFD55-8B75-4650-89D4-B8E9960A7E1B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6" name="Block Arc 265" hidden="1">
              <a:extLst>
                <a:ext uri="{FF2B5EF4-FFF2-40B4-BE49-F238E27FC236}">
                  <a16:creationId xmlns:a16="http://schemas.microsoft.com/office/drawing/2014/main" id="{1196B00D-50EF-4441-8509-1DBFFCC2701D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7" name="Block Arc 266" hidden="1">
              <a:extLst>
                <a:ext uri="{FF2B5EF4-FFF2-40B4-BE49-F238E27FC236}">
                  <a16:creationId xmlns:a16="http://schemas.microsoft.com/office/drawing/2014/main" id="{23C6AA22-A508-4C77-8A7C-A06A6CFF1B12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8" name="Block Arc 267" hidden="1">
              <a:extLst>
                <a:ext uri="{FF2B5EF4-FFF2-40B4-BE49-F238E27FC236}">
                  <a16:creationId xmlns:a16="http://schemas.microsoft.com/office/drawing/2014/main" id="{68914C16-FBD6-42DB-A8EB-15EDDDBCE568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69" name="Block Arc 268" hidden="1">
              <a:extLst>
                <a:ext uri="{FF2B5EF4-FFF2-40B4-BE49-F238E27FC236}">
                  <a16:creationId xmlns:a16="http://schemas.microsoft.com/office/drawing/2014/main" id="{4B051BBC-0E86-4150-B89D-EDDCB1A4598E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0" name="Block Arc 269" hidden="1">
              <a:extLst>
                <a:ext uri="{FF2B5EF4-FFF2-40B4-BE49-F238E27FC236}">
                  <a16:creationId xmlns:a16="http://schemas.microsoft.com/office/drawing/2014/main" id="{63735ECA-C5D3-4544-8749-D99F9AEFC7C9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1" name="Block Arc 270" hidden="1">
              <a:extLst>
                <a:ext uri="{FF2B5EF4-FFF2-40B4-BE49-F238E27FC236}">
                  <a16:creationId xmlns:a16="http://schemas.microsoft.com/office/drawing/2014/main" id="{1B855DF1-7038-411E-AF8C-BE3E39BB731F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2" name="Block Arc 271" hidden="1">
              <a:extLst>
                <a:ext uri="{FF2B5EF4-FFF2-40B4-BE49-F238E27FC236}">
                  <a16:creationId xmlns:a16="http://schemas.microsoft.com/office/drawing/2014/main" id="{80EE6303-54D0-4033-AD53-D7611D817128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3" name="Block Arc 272" hidden="1">
              <a:extLst>
                <a:ext uri="{FF2B5EF4-FFF2-40B4-BE49-F238E27FC236}">
                  <a16:creationId xmlns:a16="http://schemas.microsoft.com/office/drawing/2014/main" id="{D6C1F7B1-846E-4F14-9912-B6D612456154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4" name="Block Arc 273" hidden="1">
              <a:extLst>
                <a:ext uri="{FF2B5EF4-FFF2-40B4-BE49-F238E27FC236}">
                  <a16:creationId xmlns:a16="http://schemas.microsoft.com/office/drawing/2014/main" id="{53FE6F8E-FCE4-4987-A9BB-8B08F9DD8427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5" name="Block Arc 274" hidden="1">
              <a:extLst>
                <a:ext uri="{FF2B5EF4-FFF2-40B4-BE49-F238E27FC236}">
                  <a16:creationId xmlns:a16="http://schemas.microsoft.com/office/drawing/2014/main" id="{36C979B3-9155-4176-9B9D-69DC7D4505CD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6" name="Block Arc 275" hidden="1">
              <a:extLst>
                <a:ext uri="{FF2B5EF4-FFF2-40B4-BE49-F238E27FC236}">
                  <a16:creationId xmlns:a16="http://schemas.microsoft.com/office/drawing/2014/main" id="{5B539330-C22F-4507-BFE6-DF6269DBF254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7" name="Block Arc 276" hidden="1">
              <a:extLst>
                <a:ext uri="{FF2B5EF4-FFF2-40B4-BE49-F238E27FC236}">
                  <a16:creationId xmlns:a16="http://schemas.microsoft.com/office/drawing/2014/main" id="{3CFB0B0C-E6E4-4FC7-A81F-503BD893C511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8" name="Block Arc 277" hidden="1">
              <a:extLst>
                <a:ext uri="{FF2B5EF4-FFF2-40B4-BE49-F238E27FC236}">
                  <a16:creationId xmlns:a16="http://schemas.microsoft.com/office/drawing/2014/main" id="{6332BAF9-839F-4DC6-8699-DA1F7AFC01DC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79" name="Block Arc 278" hidden="1">
              <a:extLst>
                <a:ext uri="{FF2B5EF4-FFF2-40B4-BE49-F238E27FC236}">
                  <a16:creationId xmlns:a16="http://schemas.microsoft.com/office/drawing/2014/main" id="{A318A9DA-86F3-459B-A3E2-395476F68E1A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80" name="Block Arc 279" hidden="1">
              <a:extLst>
                <a:ext uri="{FF2B5EF4-FFF2-40B4-BE49-F238E27FC236}">
                  <a16:creationId xmlns:a16="http://schemas.microsoft.com/office/drawing/2014/main" id="{78996FA5-0AF0-444B-9B9F-B07853AA2A93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81" name="Block Arc 280" hidden="1">
              <a:extLst>
                <a:ext uri="{FF2B5EF4-FFF2-40B4-BE49-F238E27FC236}">
                  <a16:creationId xmlns:a16="http://schemas.microsoft.com/office/drawing/2014/main" id="{FDED6DC5-EBA7-4E79-BDAA-D366B44B8EBA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82" name="Block Arc 281" hidden="1">
              <a:extLst>
                <a:ext uri="{FF2B5EF4-FFF2-40B4-BE49-F238E27FC236}">
                  <a16:creationId xmlns:a16="http://schemas.microsoft.com/office/drawing/2014/main" id="{E0F3A825-E180-45D0-BD7C-3033090D80D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83" name="Block Arc 282" hidden="1">
              <a:extLst>
                <a:ext uri="{FF2B5EF4-FFF2-40B4-BE49-F238E27FC236}">
                  <a16:creationId xmlns:a16="http://schemas.microsoft.com/office/drawing/2014/main" id="{D6BCDFE6-627B-43CD-B1B1-F5A1C0AD839B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84" name="Block Arc 283" hidden="1">
              <a:extLst>
                <a:ext uri="{FF2B5EF4-FFF2-40B4-BE49-F238E27FC236}">
                  <a16:creationId xmlns:a16="http://schemas.microsoft.com/office/drawing/2014/main" id="{979FD73E-85A3-4C70-84A5-CB0814195AFF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85" name="Block Arc 284" hidden="1">
              <a:extLst>
                <a:ext uri="{FF2B5EF4-FFF2-40B4-BE49-F238E27FC236}">
                  <a16:creationId xmlns:a16="http://schemas.microsoft.com/office/drawing/2014/main" id="{CC9FF605-222F-4CB6-8193-0BA6A38A62D7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  <p:sp>
          <p:nvSpPr>
            <p:cNvPr id="286" name="Block Arc 285" hidden="1">
              <a:extLst>
                <a:ext uri="{FF2B5EF4-FFF2-40B4-BE49-F238E27FC236}">
                  <a16:creationId xmlns:a16="http://schemas.microsoft.com/office/drawing/2014/main" id="{D5EC34E0-2446-4AB1-BDB8-B41A0247EE25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chemeClr val="lt1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algn="ctr"/>
              <a:r>
                <a:rPr lang="en-US" sz="1200" dirty="0">
                  <a:effectLst>
                    <a:glow>
                      <a:scrgbClr r="0" g="0" b="0"/>
                    </a:glow>
                  </a:effectLst>
                </a:rPr>
                <a:t>Text</a:t>
              </a:r>
            </a:p>
          </p:txBody>
        </p:sp>
      </p:grpSp>
      <p:sp>
        <p:nvSpPr>
          <p:cNvPr id="287" name="TextBox 286">
            <a:extLst>
              <a:ext uri="{FF2B5EF4-FFF2-40B4-BE49-F238E27FC236}">
                <a16:creationId xmlns:a16="http://schemas.microsoft.com/office/drawing/2014/main" id="{89D31C3B-52C5-46FA-819B-0DC852AE06CC}"/>
              </a:ext>
            </a:extLst>
          </p:cNvPr>
          <p:cNvSpPr txBox="1"/>
          <p:nvPr/>
        </p:nvSpPr>
        <p:spPr>
          <a:xfrm>
            <a:off x="4192385" y="3329617"/>
            <a:ext cx="692867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lt1"/>
                </a:solidFill>
              </a:rPr>
              <a:t>6,4</a:t>
            </a:r>
          </a:p>
        </p:txBody>
      </p:sp>
      <p:sp>
        <p:nvSpPr>
          <p:cNvPr id="288" name="TextBox 287">
            <a:extLst>
              <a:ext uri="{FF2B5EF4-FFF2-40B4-BE49-F238E27FC236}">
                <a16:creationId xmlns:a16="http://schemas.microsoft.com/office/drawing/2014/main" id="{30E3E4D0-8DA4-4CBB-9F51-909B6AE5EBB6}"/>
              </a:ext>
            </a:extLst>
          </p:cNvPr>
          <p:cNvSpPr txBox="1"/>
          <p:nvPr/>
        </p:nvSpPr>
        <p:spPr>
          <a:xfrm>
            <a:off x="7765344" y="3329617"/>
            <a:ext cx="471077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dirty="0">
                <a:solidFill>
                  <a:schemeClr val="lt1"/>
                </a:solidFill>
              </a:rPr>
              <a:t>6,3</a:t>
            </a:r>
          </a:p>
        </p:txBody>
      </p:sp>
      <p:grpSp>
        <p:nvGrpSpPr>
          <p:cNvPr id="293" name="Dov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7E7467C-852C-45BF-AFD0-734DDBE9A4D1}"/>
              </a:ext>
            </a:extLst>
          </p:cNvPr>
          <p:cNvGrpSpPr>
            <a:grpSpLocks noChangeAspect="1"/>
          </p:cNvGrpSpPr>
          <p:nvPr/>
        </p:nvGrpSpPr>
        <p:grpSpPr>
          <a:xfrm>
            <a:off x="9564026" y="4666352"/>
            <a:ext cx="843281" cy="882245"/>
            <a:chOff x="5470526" y="3173413"/>
            <a:chExt cx="481013" cy="503238"/>
          </a:xfrm>
          <a:solidFill>
            <a:schemeClr val="lt1"/>
          </a:solidFill>
        </p:grpSpPr>
        <p:sp>
          <p:nvSpPr>
            <p:cNvPr id="294" name="Freeform 49">
              <a:extLst>
                <a:ext uri="{FF2B5EF4-FFF2-40B4-BE49-F238E27FC236}">
                  <a16:creationId xmlns:a16="http://schemas.microsoft.com/office/drawing/2014/main" id="{5B22D4A1-76DF-4F40-8438-AF9D22F36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5001" y="3173413"/>
              <a:ext cx="184150" cy="233363"/>
            </a:xfrm>
            <a:custGeom>
              <a:avLst/>
              <a:gdLst>
                <a:gd name="T0" fmla="*/ 50 w 1088"/>
                <a:gd name="T1" fmla="*/ 1376 h 1376"/>
                <a:gd name="T2" fmla="*/ 9 w 1088"/>
                <a:gd name="T3" fmla="*/ 1340 h 1376"/>
                <a:gd name="T4" fmla="*/ 16 w 1088"/>
                <a:gd name="T5" fmla="*/ 1153 h 1376"/>
                <a:gd name="T6" fmla="*/ 90 w 1088"/>
                <a:gd name="T7" fmla="*/ 1037 h 1376"/>
                <a:gd name="T8" fmla="*/ 336 w 1088"/>
                <a:gd name="T9" fmla="*/ 878 h 1376"/>
                <a:gd name="T10" fmla="*/ 353 w 1088"/>
                <a:gd name="T11" fmla="*/ 870 h 1376"/>
                <a:gd name="T12" fmla="*/ 751 w 1088"/>
                <a:gd name="T13" fmla="*/ 603 h 1376"/>
                <a:gd name="T14" fmla="*/ 791 w 1088"/>
                <a:gd name="T15" fmla="*/ 562 h 1376"/>
                <a:gd name="T16" fmla="*/ 976 w 1088"/>
                <a:gd name="T17" fmla="*/ 308 h 1376"/>
                <a:gd name="T18" fmla="*/ 990 w 1088"/>
                <a:gd name="T19" fmla="*/ 48 h 1376"/>
                <a:gd name="T20" fmla="*/ 1028 w 1088"/>
                <a:gd name="T21" fmla="*/ 2 h 1376"/>
                <a:gd name="T22" fmla="*/ 1073 w 1088"/>
                <a:gd name="T23" fmla="*/ 39 h 1376"/>
                <a:gd name="T24" fmla="*/ 1056 w 1088"/>
                <a:gd name="T25" fmla="*/ 333 h 1376"/>
                <a:gd name="T26" fmla="*/ 850 w 1088"/>
                <a:gd name="T27" fmla="*/ 620 h 1376"/>
                <a:gd name="T28" fmla="*/ 811 w 1088"/>
                <a:gd name="T29" fmla="*/ 660 h 1376"/>
                <a:gd name="T30" fmla="*/ 388 w 1088"/>
                <a:gd name="T31" fmla="*/ 945 h 1376"/>
                <a:gd name="T32" fmla="*/ 370 w 1088"/>
                <a:gd name="T33" fmla="*/ 953 h 1376"/>
                <a:gd name="T34" fmla="*/ 153 w 1088"/>
                <a:gd name="T35" fmla="*/ 1091 h 1376"/>
                <a:gd name="T36" fmla="*/ 95 w 1088"/>
                <a:gd name="T37" fmla="*/ 1178 h 1376"/>
                <a:gd name="T38" fmla="*/ 91 w 1088"/>
                <a:gd name="T39" fmla="*/ 1327 h 1376"/>
                <a:gd name="T40" fmla="*/ 56 w 1088"/>
                <a:gd name="T41" fmla="*/ 1375 h 1376"/>
                <a:gd name="T42" fmla="*/ 50 w 1088"/>
                <a:gd name="T43" fmla="*/ 1376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8" h="1376">
                  <a:moveTo>
                    <a:pt x="50" y="1376"/>
                  </a:moveTo>
                  <a:cubicBezTo>
                    <a:pt x="30" y="1376"/>
                    <a:pt x="12" y="1361"/>
                    <a:pt x="9" y="1340"/>
                  </a:cubicBezTo>
                  <a:cubicBezTo>
                    <a:pt x="0" y="1287"/>
                    <a:pt x="1" y="1200"/>
                    <a:pt x="16" y="1153"/>
                  </a:cubicBezTo>
                  <a:cubicBezTo>
                    <a:pt x="29" y="1110"/>
                    <a:pt x="65" y="1066"/>
                    <a:pt x="90" y="1037"/>
                  </a:cubicBezTo>
                  <a:cubicBezTo>
                    <a:pt x="156" y="960"/>
                    <a:pt x="247" y="918"/>
                    <a:pt x="336" y="878"/>
                  </a:cubicBezTo>
                  <a:lnTo>
                    <a:pt x="353" y="870"/>
                  </a:lnTo>
                  <a:cubicBezTo>
                    <a:pt x="526" y="791"/>
                    <a:pt x="656" y="703"/>
                    <a:pt x="751" y="603"/>
                  </a:cubicBezTo>
                  <a:cubicBezTo>
                    <a:pt x="764" y="589"/>
                    <a:pt x="777" y="576"/>
                    <a:pt x="791" y="562"/>
                  </a:cubicBezTo>
                  <a:cubicBezTo>
                    <a:pt x="867" y="483"/>
                    <a:pt x="946" y="402"/>
                    <a:pt x="976" y="308"/>
                  </a:cubicBezTo>
                  <a:cubicBezTo>
                    <a:pt x="1004" y="222"/>
                    <a:pt x="999" y="124"/>
                    <a:pt x="990" y="48"/>
                  </a:cubicBezTo>
                  <a:cubicBezTo>
                    <a:pt x="988" y="25"/>
                    <a:pt x="1005" y="5"/>
                    <a:pt x="1028" y="2"/>
                  </a:cubicBezTo>
                  <a:cubicBezTo>
                    <a:pt x="1050" y="0"/>
                    <a:pt x="1071" y="16"/>
                    <a:pt x="1073" y="39"/>
                  </a:cubicBezTo>
                  <a:cubicBezTo>
                    <a:pt x="1082" y="123"/>
                    <a:pt x="1088" y="233"/>
                    <a:pt x="1056" y="333"/>
                  </a:cubicBezTo>
                  <a:cubicBezTo>
                    <a:pt x="1019" y="447"/>
                    <a:pt x="929" y="539"/>
                    <a:pt x="850" y="620"/>
                  </a:cubicBezTo>
                  <a:cubicBezTo>
                    <a:pt x="837" y="634"/>
                    <a:pt x="824" y="647"/>
                    <a:pt x="811" y="660"/>
                  </a:cubicBezTo>
                  <a:cubicBezTo>
                    <a:pt x="709" y="768"/>
                    <a:pt x="570" y="862"/>
                    <a:pt x="388" y="945"/>
                  </a:cubicBezTo>
                  <a:lnTo>
                    <a:pt x="370" y="953"/>
                  </a:lnTo>
                  <a:cubicBezTo>
                    <a:pt x="290" y="990"/>
                    <a:pt x="207" y="1028"/>
                    <a:pt x="153" y="1091"/>
                  </a:cubicBezTo>
                  <a:cubicBezTo>
                    <a:pt x="121" y="1128"/>
                    <a:pt x="102" y="1157"/>
                    <a:pt x="95" y="1178"/>
                  </a:cubicBezTo>
                  <a:cubicBezTo>
                    <a:pt x="86" y="1208"/>
                    <a:pt x="84" y="1282"/>
                    <a:pt x="91" y="1327"/>
                  </a:cubicBezTo>
                  <a:cubicBezTo>
                    <a:pt x="95" y="1350"/>
                    <a:pt x="79" y="1372"/>
                    <a:pt x="56" y="1375"/>
                  </a:cubicBezTo>
                  <a:cubicBezTo>
                    <a:pt x="54" y="1375"/>
                    <a:pt x="52" y="1376"/>
                    <a:pt x="50" y="1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5" name="Freeform 50">
              <a:extLst>
                <a:ext uri="{FF2B5EF4-FFF2-40B4-BE49-F238E27FC236}">
                  <a16:creationId xmlns:a16="http://schemas.microsoft.com/office/drawing/2014/main" id="{16FBE713-A242-4A35-9E87-25E71743C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3751" y="3176588"/>
              <a:ext cx="52388" cy="147638"/>
            </a:xfrm>
            <a:custGeom>
              <a:avLst/>
              <a:gdLst>
                <a:gd name="T0" fmla="*/ 44 w 312"/>
                <a:gd name="T1" fmla="*/ 868 h 868"/>
                <a:gd name="T2" fmla="*/ 20 w 312"/>
                <a:gd name="T3" fmla="*/ 860 h 868"/>
                <a:gd name="T4" fmla="*/ 1 w 312"/>
                <a:gd name="T5" fmla="*/ 820 h 868"/>
                <a:gd name="T6" fmla="*/ 51 w 312"/>
                <a:gd name="T7" fmla="*/ 770 h 868"/>
                <a:gd name="T8" fmla="*/ 71 w 312"/>
                <a:gd name="T9" fmla="*/ 760 h 868"/>
                <a:gd name="T10" fmla="*/ 207 w 312"/>
                <a:gd name="T11" fmla="*/ 410 h 868"/>
                <a:gd name="T12" fmla="*/ 87 w 312"/>
                <a:gd name="T13" fmla="*/ 72 h 868"/>
                <a:gd name="T14" fmla="*/ 97 w 312"/>
                <a:gd name="T15" fmla="*/ 14 h 868"/>
                <a:gd name="T16" fmla="*/ 155 w 312"/>
                <a:gd name="T17" fmla="*/ 23 h 868"/>
                <a:gd name="T18" fmla="*/ 290 w 312"/>
                <a:gd name="T19" fmla="*/ 404 h 868"/>
                <a:gd name="T20" fmla="*/ 117 w 312"/>
                <a:gd name="T21" fmla="*/ 830 h 868"/>
                <a:gd name="T22" fmla="*/ 85 w 312"/>
                <a:gd name="T23" fmla="*/ 846 h 868"/>
                <a:gd name="T24" fmla="*/ 79 w 312"/>
                <a:gd name="T25" fmla="*/ 849 h 868"/>
                <a:gd name="T26" fmla="*/ 78 w 312"/>
                <a:gd name="T27" fmla="*/ 850 h 868"/>
                <a:gd name="T28" fmla="*/ 44 w 312"/>
                <a:gd name="T29" fmla="*/ 86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2" h="868">
                  <a:moveTo>
                    <a:pt x="44" y="868"/>
                  </a:moveTo>
                  <a:cubicBezTo>
                    <a:pt x="36" y="868"/>
                    <a:pt x="27" y="865"/>
                    <a:pt x="20" y="860"/>
                  </a:cubicBezTo>
                  <a:cubicBezTo>
                    <a:pt x="7" y="851"/>
                    <a:pt x="0" y="836"/>
                    <a:pt x="1" y="820"/>
                  </a:cubicBezTo>
                  <a:cubicBezTo>
                    <a:pt x="4" y="792"/>
                    <a:pt x="28" y="781"/>
                    <a:pt x="51" y="770"/>
                  </a:cubicBezTo>
                  <a:cubicBezTo>
                    <a:pt x="58" y="767"/>
                    <a:pt x="67" y="763"/>
                    <a:pt x="71" y="760"/>
                  </a:cubicBezTo>
                  <a:cubicBezTo>
                    <a:pt x="97" y="743"/>
                    <a:pt x="225" y="646"/>
                    <a:pt x="207" y="410"/>
                  </a:cubicBezTo>
                  <a:cubicBezTo>
                    <a:pt x="199" y="309"/>
                    <a:pt x="142" y="148"/>
                    <a:pt x="87" y="72"/>
                  </a:cubicBezTo>
                  <a:cubicBezTo>
                    <a:pt x="74" y="53"/>
                    <a:pt x="78" y="27"/>
                    <a:pt x="97" y="14"/>
                  </a:cubicBezTo>
                  <a:cubicBezTo>
                    <a:pt x="115" y="0"/>
                    <a:pt x="141" y="4"/>
                    <a:pt x="155" y="23"/>
                  </a:cubicBezTo>
                  <a:cubicBezTo>
                    <a:pt x="218" y="111"/>
                    <a:pt x="281" y="289"/>
                    <a:pt x="290" y="404"/>
                  </a:cubicBezTo>
                  <a:cubicBezTo>
                    <a:pt x="312" y="686"/>
                    <a:pt x="150" y="808"/>
                    <a:pt x="117" y="830"/>
                  </a:cubicBezTo>
                  <a:cubicBezTo>
                    <a:pt x="107" y="836"/>
                    <a:pt x="96" y="841"/>
                    <a:pt x="85" y="846"/>
                  </a:cubicBezTo>
                  <a:cubicBezTo>
                    <a:pt x="83" y="847"/>
                    <a:pt x="81" y="848"/>
                    <a:pt x="79" y="849"/>
                  </a:cubicBezTo>
                  <a:lnTo>
                    <a:pt x="78" y="850"/>
                  </a:lnTo>
                  <a:cubicBezTo>
                    <a:pt x="70" y="862"/>
                    <a:pt x="57" y="868"/>
                    <a:pt x="44" y="8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6" name="Freeform 51">
              <a:extLst>
                <a:ext uri="{FF2B5EF4-FFF2-40B4-BE49-F238E27FC236}">
                  <a16:creationId xmlns:a16="http://schemas.microsoft.com/office/drawing/2014/main" id="{1DFD153A-6F0B-4D3D-B069-8470F8492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1" y="3306763"/>
              <a:ext cx="160338" cy="201613"/>
            </a:xfrm>
            <a:custGeom>
              <a:avLst/>
              <a:gdLst>
                <a:gd name="T0" fmla="*/ 159 w 946"/>
                <a:gd name="T1" fmla="*/ 1197 h 1197"/>
                <a:gd name="T2" fmla="*/ 82 w 946"/>
                <a:gd name="T3" fmla="*/ 1175 h 1197"/>
                <a:gd name="T4" fmla="*/ 3 w 946"/>
                <a:gd name="T5" fmla="*/ 1020 h 1197"/>
                <a:gd name="T6" fmla="*/ 38 w 946"/>
                <a:gd name="T7" fmla="*/ 972 h 1197"/>
                <a:gd name="T8" fmla="*/ 86 w 946"/>
                <a:gd name="T9" fmla="*/ 1007 h 1197"/>
                <a:gd name="T10" fmla="*/ 127 w 946"/>
                <a:gd name="T11" fmla="*/ 1106 h 1197"/>
                <a:gd name="T12" fmla="*/ 196 w 946"/>
                <a:gd name="T13" fmla="*/ 1108 h 1197"/>
                <a:gd name="T14" fmla="*/ 267 w 946"/>
                <a:gd name="T15" fmla="*/ 1071 h 1197"/>
                <a:gd name="T16" fmla="*/ 277 w 946"/>
                <a:gd name="T17" fmla="*/ 1012 h 1197"/>
                <a:gd name="T18" fmla="*/ 260 w 946"/>
                <a:gd name="T19" fmla="*/ 961 h 1197"/>
                <a:gd name="T20" fmla="*/ 237 w 946"/>
                <a:gd name="T21" fmla="*/ 940 h 1197"/>
                <a:gd name="T22" fmla="*/ 235 w 946"/>
                <a:gd name="T23" fmla="*/ 884 h 1197"/>
                <a:gd name="T24" fmla="*/ 290 w 946"/>
                <a:gd name="T25" fmla="*/ 876 h 1197"/>
                <a:gd name="T26" fmla="*/ 320 w 946"/>
                <a:gd name="T27" fmla="*/ 903 h 1197"/>
                <a:gd name="T28" fmla="*/ 415 w 946"/>
                <a:gd name="T29" fmla="*/ 947 h 1197"/>
                <a:gd name="T30" fmla="*/ 416 w 946"/>
                <a:gd name="T31" fmla="*/ 947 h 1197"/>
                <a:gd name="T32" fmla="*/ 505 w 946"/>
                <a:gd name="T33" fmla="*/ 921 h 1197"/>
                <a:gd name="T34" fmla="*/ 437 w 946"/>
                <a:gd name="T35" fmla="*/ 738 h 1197"/>
                <a:gd name="T36" fmla="*/ 434 w 946"/>
                <a:gd name="T37" fmla="*/ 679 h 1197"/>
                <a:gd name="T38" fmla="*/ 493 w 946"/>
                <a:gd name="T39" fmla="*/ 677 h 1197"/>
                <a:gd name="T40" fmla="*/ 493 w 946"/>
                <a:gd name="T41" fmla="*/ 677 h 1197"/>
                <a:gd name="T42" fmla="*/ 707 w 946"/>
                <a:gd name="T43" fmla="*/ 719 h 1197"/>
                <a:gd name="T44" fmla="*/ 769 w 946"/>
                <a:gd name="T45" fmla="*/ 632 h 1197"/>
                <a:gd name="T46" fmla="*/ 628 w 946"/>
                <a:gd name="T47" fmla="*/ 457 h 1197"/>
                <a:gd name="T48" fmla="*/ 604 w 946"/>
                <a:gd name="T49" fmla="*/ 408 h 1197"/>
                <a:gd name="T50" fmla="*/ 650 w 946"/>
                <a:gd name="T51" fmla="*/ 377 h 1197"/>
                <a:gd name="T52" fmla="*/ 829 w 946"/>
                <a:gd name="T53" fmla="*/ 310 h 1197"/>
                <a:gd name="T54" fmla="*/ 817 w 946"/>
                <a:gd name="T55" fmla="*/ 155 h 1197"/>
                <a:gd name="T56" fmla="*/ 623 w 946"/>
                <a:gd name="T57" fmla="*/ 113 h 1197"/>
                <a:gd name="T58" fmla="*/ 572 w 946"/>
                <a:gd name="T59" fmla="*/ 84 h 1197"/>
                <a:gd name="T60" fmla="*/ 601 w 946"/>
                <a:gd name="T61" fmla="*/ 33 h 1197"/>
                <a:gd name="T62" fmla="*/ 883 w 946"/>
                <a:gd name="T63" fmla="*/ 103 h 1197"/>
                <a:gd name="T64" fmla="*/ 901 w 946"/>
                <a:gd name="T65" fmla="*/ 352 h 1197"/>
                <a:gd name="T66" fmla="*/ 774 w 946"/>
                <a:gd name="T67" fmla="*/ 451 h 1197"/>
                <a:gd name="T68" fmla="*/ 852 w 946"/>
                <a:gd name="T69" fmla="*/ 636 h 1197"/>
                <a:gd name="T70" fmla="*/ 738 w 946"/>
                <a:gd name="T71" fmla="*/ 796 h 1197"/>
                <a:gd name="T72" fmla="*/ 588 w 946"/>
                <a:gd name="T73" fmla="*/ 809 h 1197"/>
                <a:gd name="T74" fmla="*/ 576 w 946"/>
                <a:gd name="T75" fmla="*/ 966 h 1197"/>
                <a:gd name="T76" fmla="*/ 407 w 946"/>
                <a:gd name="T77" fmla="*/ 1030 h 1197"/>
                <a:gd name="T78" fmla="*/ 361 w 946"/>
                <a:gd name="T79" fmla="*/ 1020 h 1197"/>
                <a:gd name="T80" fmla="*/ 328 w 946"/>
                <a:gd name="T81" fmla="*/ 1128 h 1197"/>
                <a:gd name="T82" fmla="*/ 217 w 946"/>
                <a:gd name="T83" fmla="*/ 1189 h 1197"/>
                <a:gd name="T84" fmla="*/ 159 w 946"/>
                <a:gd name="T85" fmla="*/ 1197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46" h="1197">
                  <a:moveTo>
                    <a:pt x="159" y="1197"/>
                  </a:moveTo>
                  <a:cubicBezTo>
                    <a:pt x="129" y="1197"/>
                    <a:pt x="104" y="1190"/>
                    <a:pt x="82" y="1175"/>
                  </a:cubicBezTo>
                  <a:cubicBezTo>
                    <a:pt x="40" y="1148"/>
                    <a:pt x="16" y="1099"/>
                    <a:pt x="3" y="1020"/>
                  </a:cubicBezTo>
                  <a:cubicBezTo>
                    <a:pt x="0" y="997"/>
                    <a:pt x="15" y="976"/>
                    <a:pt x="38" y="972"/>
                  </a:cubicBezTo>
                  <a:cubicBezTo>
                    <a:pt x="61" y="968"/>
                    <a:pt x="82" y="984"/>
                    <a:pt x="86" y="1007"/>
                  </a:cubicBezTo>
                  <a:cubicBezTo>
                    <a:pt x="94" y="1059"/>
                    <a:pt x="108" y="1093"/>
                    <a:pt x="127" y="1106"/>
                  </a:cubicBezTo>
                  <a:cubicBezTo>
                    <a:pt x="142" y="1115"/>
                    <a:pt x="165" y="1116"/>
                    <a:pt x="196" y="1108"/>
                  </a:cubicBezTo>
                  <a:cubicBezTo>
                    <a:pt x="226" y="1101"/>
                    <a:pt x="247" y="1092"/>
                    <a:pt x="267" y="1071"/>
                  </a:cubicBezTo>
                  <a:cubicBezTo>
                    <a:pt x="273" y="1064"/>
                    <a:pt x="281" y="1042"/>
                    <a:pt x="277" y="1012"/>
                  </a:cubicBezTo>
                  <a:cubicBezTo>
                    <a:pt x="275" y="992"/>
                    <a:pt x="269" y="974"/>
                    <a:pt x="260" y="961"/>
                  </a:cubicBezTo>
                  <a:cubicBezTo>
                    <a:pt x="251" y="954"/>
                    <a:pt x="244" y="947"/>
                    <a:pt x="237" y="940"/>
                  </a:cubicBezTo>
                  <a:cubicBezTo>
                    <a:pt x="223" y="924"/>
                    <a:pt x="222" y="900"/>
                    <a:pt x="235" y="884"/>
                  </a:cubicBezTo>
                  <a:cubicBezTo>
                    <a:pt x="249" y="868"/>
                    <a:pt x="273" y="864"/>
                    <a:pt x="290" y="876"/>
                  </a:cubicBezTo>
                  <a:cubicBezTo>
                    <a:pt x="301" y="883"/>
                    <a:pt x="311" y="892"/>
                    <a:pt x="320" y="903"/>
                  </a:cubicBezTo>
                  <a:cubicBezTo>
                    <a:pt x="345" y="923"/>
                    <a:pt x="377" y="943"/>
                    <a:pt x="415" y="947"/>
                  </a:cubicBezTo>
                  <a:lnTo>
                    <a:pt x="416" y="947"/>
                  </a:lnTo>
                  <a:cubicBezTo>
                    <a:pt x="456" y="951"/>
                    <a:pt x="495" y="937"/>
                    <a:pt x="505" y="921"/>
                  </a:cubicBezTo>
                  <a:cubicBezTo>
                    <a:pt x="549" y="851"/>
                    <a:pt x="464" y="763"/>
                    <a:pt x="437" y="738"/>
                  </a:cubicBezTo>
                  <a:cubicBezTo>
                    <a:pt x="420" y="722"/>
                    <a:pt x="419" y="696"/>
                    <a:pt x="434" y="679"/>
                  </a:cubicBezTo>
                  <a:cubicBezTo>
                    <a:pt x="450" y="662"/>
                    <a:pt x="476" y="661"/>
                    <a:pt x="493" y="677"/>
                  </a:cubicBezTo>
                  <a:lnTo>
                    <a:pt x="493" y="677"/>
                  </a:lnTo>
                  <a:cubicBezTo>
                    <a:pt x="546" y="726"/>
                    <a:pt x="642" y="745"/>
                    <a:pt x="707" y="719"/>
                  </a:cubicBezTo>
                  <a:cubicBezTo>
                    <a:pt x="746" y="703"/>
                    <a:pt x="767" y="673"/>
                    <a:pt x="769" y="632"/>
                  </a:cubicBezTo>
                  <a:cubicBezTo>
                    <a:pt x="774" y="533"/>
                    <a:pt x="683" y="480"/>
                    <a:pt x="628" y="457"/>
                  </a:cubicBezTo>
                  <a:cubicBezTo>
                    <a:pt x="609" y="449"/>
                    <a:pt x="599" y="428"/>
                    <a:pt x="604" y="408"/>
                  </a:cubicBezTo>
                  <a:cubicBezTo>
                    <a:pt x="610" y="388"/>
                    <a:pt x="629" y="375"/>
                    <a:pt x="650" y="377"/>
                  </a:cubicBezTo>
                  <a:cubicBezTo>
                    <a:pt x="734" y="388"/>
                    <a:pt x="798" y="365"/>
                    <a:pt x="829" y="310"/>
                  </a:cubicBezTo>
                  <a:cubicBezTo>
                    <a:pt x="856" y="262"/>
                    <a:pt x="852" y="198"/>
                    <a:pt x="817" y="155"/>
                  </a:cubicBezTo>
                  <a:cubicBezTo>
                    <a:pt x="778" y="104"/>
                    <a:pt x="709" y="89"/>
                    <a:pt x="623" y="113"/>
                  </a:cubicBezTo>
                  <a:cubicBezTo>
                    <a:pt x="601" y="119"/>
                    <a:pt x="578" y="106"/>
                    <a:pt x="572" y="84"/>
                  </a:cubicBezTo>
                  <a:cubicBezTo>
                    <a:pt x="566" y="62"/>
                    <a:pt x="579" y="39"/>
                    <a:pt x="601" y="33"/>
                  </a:cubicBezTo>
                  <a:cubicBezTo>
                    <a:pt x="719" y="0"/>
                    <a:pt x="822" y="25"/>
                    <a:pt x="883" y="103"/>
                  </a:cubicBezTo>
                  <a:cubicBezTo>
                    <a:pt x="938" y="174"/>
                    <a:pt x="946" y="274"/>
                    <a:pt x="901" y="352"/>
                  </a:cubicBezTo>
                  <a:cubicBezTo>
                    <a:pt x="873" y="401"/>
                    <a:pt x="829" y="435"/>
                    <a:pt x="774" y="451"/>
                  </a:cubicBezTo>
                  <a:cubicBezTo>
                    <a:pt x="828" y="502"/>
                    <a:pt x="856" y="566"/>
                    <a:pt x="852" y="636"/>
                  </a:cubicBezTo>
                  <a:cubicBezTo>
                    <a:pt x="848" y="710"/>
                    <a:pt x="807" y="768"/>
                    <a:pt x="738" y="796"/>
                  </a:cubicBezTo>
                  <a:cubicBezTo>
                    <a:pt x="693" y="814"/>
                    <a:pt x="640" y="818"/>
                    <a:pt x="588" y="809"/>
                  </a:cubicBezTo>
                  <a:cubicBezTo>
                    <a:pt x="609" y="865"/>
                    <a:pt x="605" y="919"/>
                    <a:pt x="576" y="966"/>
                  </a:cubicBezTo>
                  <a:cubicBezTo>
                    <a:pt x="542" y="1019"/>
                    <a:pt x="464" y="1036"/>
                    <a:pt x="407" y="1030"/>
                  </a:cubicBezTo>
                  <a:cubicBezTo>
                    <a:pt x="391" y="1028"/>
                    <a:pt x="376" y="1024"/>
                    <a:pt x="361" y="1020"/>
                  </a:cubicBezTo>
                  <a:cubicBezTo>
                    <a:pt x="363" y="1064"/>
                    <a:pt x="351" y="1104"/>
                    <a:pt x="328" y="1128"/>
                  </a:cubicBezTo>
                  <a:cubicBezTo>
                    <a:pt x="291" y="1166"/>
                    <a:pt x="253" y="1180"/>
                    <a:pt x="217" y="1189"/>
                  </a:cubicBezTo>
                  <a:cubicBezTo>
                    <a:pt x="196" y="1194"/>
                    <a:pt x="176" y="1197"/>
                    <a:pt x="159" y="11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7" name="Freeform 52">
              <a:extLst>
                <a:ext uri="{FF2B5EF4-FFF2-40B4-BE49-F238E27FC236}">
                  <a16:creationId xmlns:a16="http://schemas.microsoft.com/office/drawing/2014/main" id="{179B840C-B013-4B80-A7AD-38F0FFE9F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3286126"/>
              <a:ext cx="130175" cy="73025"/>
            </a:xfrm>
            <a:custGeom>
              <a:avLst/>
              <a:gdLst>
                <a:gd name="T0" fmla="*/ 48 w 770"/>
                <a:gd name="T1" fmla="*/ 432 h 432"/>
                <a:gd name="T2" fmla="*/ 10 w 770"/>
                <a:gd name="T3" fmla="*/ 408 h 432"/>
                <a:gd name="T4" fmla="*/ 30 w 770"/>
                <a:gd name="T5" fmla="*/ 353 h 432"/>
                <a:gd name="T6" fmla="*/ 135 w 770"/>
                <a:gd name="T7" fmla="*/ 219 h 432"/>
                <a:gd name="T8" fmla="*/ 302 w 770"/>
                <a:gd name="T9" fmla="*/ 36 h 432"/>
                <a:gd name="T10" fmla="*/ 592 w 770"/>
                <a:gd name="T11" fmla="*/ 64 h 432"/>
                <a:gd name="T12" fmla="*/ 702 w 770"/>
                <a:gd name="T13" fmla="*/ 195 h 432"/>
                <a:gd name="T14" fmla="*/ 720 w 770"/>
                <a:gd name="T15" fmla="*/ 241 h 432"/>
                <a:gd name="T16" fmla="*/ 744 w 770"/>
                <a:gd name="T17" fmla="*/ 298 h 432"/>
                <a:gd name="T18" fmla="*/ 762 w 770"/>
                <a:gd name="T19" fmla="*/ 351 h 432"/>
                <a:gd name="T20" fmla="*/ 707 w 770"/>
                <a:gd name="T21" fmla="*/ 373 h 432"/>
                <a:gd name="T22" fmla="*/ 641 w 770"/>
                <a:gd name="T23" fmla="*/ 268 h 432"/>
                <a:gd name="T24" fmla="*/ 627 w 770"/>
                <a:gd name="T25" fmla="*/ 231 h 432"/>
                <a:gd name="T26" fmla="*/ 548 w 770"/>
                <a:gd name="T27" fmla="*/ 135 h 432"/>
                <a:gd name="T28" fmla="*/ 330 w 770"/>
                <a:gd name="T29" fmla="*/ 114 h 432"/>
                <a:gd name="T30" fmla="*/ 211 w 770"/>
                <a:gd name="T31" fmla="*/ 253 h 432"/>
                <a:gd name="T32" fmla="*/ 66 w 770"/>
                <a:gd name="T33" fmla="*/ 428 h 432"/>
                <a:gd name="T34" fmla="*/ 48 w 770"/>
                <a:gd name="T35" fmla="*/ 43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0" h="432">
                  <a:moveTo>
                    <a:pt x="48" y="432"/>
                  </a:moveTo>
                  <a:cubicBezTo>
                    <a:pt x="32" y="432"/>
                    <a:pt x="17" y="423"/>
                    <a:pt x="10" y="408"/>
                  </a:cubicBezTo>
                  <a:cubicBezTo>
                    <a:pt x="0" y="387"/>
                    <a:pt x="9" y="363"/>
                    <a:pt x="30" y="353"/>
                  </a:cubicBezTo>
                  <a:cubicBezTo>
                    <a:pt x="86" y="325"/>
                    <a:pt x="109" y="276"/>
                    <a:pt x="135" y="219"/>
                  </a:cubicBezTo>
                  <a:cubicBezTo>
                    <a:pt x="166" y="150"/>
                    <a:pt x="202" y="73"/>
                    <a:pt x="302" y="36"/>
                  </a:cubicBezTo>
                  <a:cubicBezTo>
                    <a:pt x="399" y="0"/>
                    <a:pt x="502" y="10"/>
                    <a:pt x="592" y="64"/>
                  </a:cubicBezTo>
                  <a:cubicBezTo>
                    <a:pt x="648" y="98"/>
                    <a:pt x="676" y="139"/>
                    <a:pt x="702" y="195"/>
                  </a:cubicBezTo>
                  <a:cubicBezTo>
                    <a:pt x="708" y="208"/>
                    <a:pt x="714" y="224"/>
                    <a:pt x="720" y="241"/>
                  </a:cubicBezTo>
                  <a:cubicBezTo>
                    <a:pt x="726" y="258"/>
                    <a:pt x="736" y="289"/>
                    <a:pt x="744" y="298"/>
                  </a:cubicBezTo>
                  <a:cubicBezTo>
                    <a:pt x="762" y="309"/>
                    <a:pt x="770" y="331"/>
                    <a:pt x="762" y="351"/>
                  </a:cubicBezTo>
                  <a:cubicBezTo>
                    <a:pt x="753" y="372"/>
                    <a:pt x="728" y="382"/>
                    <a:pt x="707" y="373"/>
                  </a:cubicBezTo>
                  <a:cubicBezTo>
                    <a:pt x="672" y="358"/>
                    <a:pt x="657" y="314"/>
                    <a:pt x="641" y="268"/>
                  </a:cubicBezTo>
                  <a:cubicBezTo>
                    <a:pt x="636" y="253"/>
                    <a:pt x="631" y="240"/>
                    <a:pt x="627" y="231"/>
                  </a:cubicBezTo>
                  <a:cubicBezTo>
                    <a:pt x="606" y="186"/>
                    <a:pt x="588" y="159"/>
                    <a:pt x="548" y="135"/>
                  </a:cubicBezTo>
                  <a:cubicBezTo>
                    <a:pt x="480" y="94"/>
                    <a:pt x="405" y="87"/>
                    <a:pt x="330" y="114"/>
                  </a:cubicBezTo>
                  <a:cubicBezTo>
                    <a:pt x="263" y="139"/>
                    <a:pt x="239" y="192"/>
                    <a:pt x="211" y="253"/>
                  </a:cubicBezTo>
                  <a:cubicBezTo>
                    <a:pt x="182" y="316"/>
                    <a:pt x="150" y="388"/>
                    <a:pt x="66" y="428"/>
                  </a:cubicBezTo>
                  <a:cubicBezTo>
                    <a:pt x="60" y="430"/>
                    <a:pt x="54" y="432"/>
                    <a:pt x="48" y="4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8" name="Freeform 53">
              <a:extLst>
                <a:ext uri="{FF2B5EF4-FFF2-40B4-BE49-F238E27FC236}">
                  <a16:creationId xmlns:a16="http://schemas.microsoft.com/office/drawing/2014/main" id="{B7D1C35A-91F1-4584-8F6D-AC6AFDA1BF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3340101"/>
              <a:ext cx="357188" cy="309563"/>
            </a:xfrm>
            <a:custGeom>
              <a:avLst/>
              <a:gdLst>
                <a:gd name="T0" fmla="*/ 1265 w 2116"/>
                <a:gd name="T1" fmla="*/ 1824 h 1826"/>
                <a:gd name="T2" fmla="*/ 1251 w 2116"/>
                <a:gd name="T3" fmla="*/ 1746 h 1826"/>
                <a:gd name="T4" fmla="*/ 1088 w 2116"/>
                <a:gd name="T5" fmla="*/ 1341 h 1826"/>
                <a:gd name="T6" fmla="*/ 328 w 2116"/>
                <a:gd name="T7" fmla="*/ 968 h 1826"/>
                <a:gd name="T8" fmla="*/ 318 w 2116"/>
                <a:gd name="T9" fmla="*/ 273 h 1826"/>
                <a:gd name="T10" fmla="*/ 68 w 2116"/>
                <a:gd name="T11" fmla="*/ 122 h 1826"/>
                <a:gd name="T12" fmla="*/ 26 w 2116"/>
                <a:gd name="T13" fmla="*/ 50 h 1826"/>
                <a:gd name="T14" fmla="*/ 400 w 2116"/>
                <a:gd name="T15" fmla="*/ 288 h 1826"/>
                <a:gd name="T16" fmla="*/ 396 w 2116"/>
                <a:gd name="T17" fmla="*/ 921 h 1826"/>
                <a:gd name="T18" fmla="*/ 1136 w 2116"/>
                <a:gd name="T19" fmla="*/ 1273 h 1826"/>
                <a:gd name="T20" fmla="*/ 1386 w 2116"/>
                <a:gd name="T21" fmla="*/ 1681 h 1826"/>
                <a:gd name="T22" fmla="*/ 1425 w 2116"/>
                <a:gd name="T23" fmla="*/ 1523 h 1826"/>
                <a:gd name="T24" fmla="*/ 1413 w 2116"/>
                <a:gd name="T25" fmla="*/ 1434 h 1826"/>
                <a:gd name="T26" fmla="*/ 1501 w 2116"/>
                <a:gd name="T27" fmla="*/ 1487 h 1826"/>
                <a:gd name="T28" fmla="*/ 1645 w 2116"/>
                <a:gd name="T29" fmla="*/ 1550 h 1826"/>
                <a:gd name="T30" fmla="*/ 1661 w 2116"/>
                <a:gd name="T31" fmla="*/ 1414 h 1826"/>
                <a:gd name="T32" fmla="*/ 1635 w 2116"/>
                <a:gd name="T33" fmla="*/ 1336 h 1826"/>
                <a:gd name="T34" fmla="*/ 1716 w 2116"/>
                <a:gd name="T35" fmla="*/ 1351 h 1826"/>
                <a:gd name="T36" fmla="*/ 1866 w 2116"/>
                <a:gd name="T37" fmla="*/ 1294 h 1826"/>
                <a:gd name="T38" fmla="*/ 1748 w 2116"/>
                <a:gd name="T39" fmla="*/ 1128 h 1826"/>
                <a:gd name="T40" fmla="*/ 1823 w 2116"/>
                <a:gd name="T41" fmla="*/ 1114 h 1826"/>
                <a:gd name="T42" fmla="*/ 1954 w 2116"/>
                <a:gd name="T43" fmla="*/ 1068 h 1826"/>
                <a:gd name="T44" fmla="*/ 1881 w 2116"/>
                <a:gd name="T45" fmla="*/ 975 h 1826"/>
                <a:gd name="T46" fmla="*/ 1811 w 2116"/>
                <a:gd name="T47" fmla="*/ 978 h 1826"/>
                <a:gd name="T48" fmla="*/ 1803 w 2116"/>
                <a:gd name="T49" fmla="*/ 887 h 1826"/>
                <a:gd name="T50" fmla="*/ 1812 w 2116"/>
                <a:gd name="T51" fmla="*/ 890 h 1826"/>
                <a:gd name="T52" fmla="*/ 1962 w 2116"/>
                <a:gd name="T53" fmla="*/ 852 h 1826"/>
                <a:gd name="T54" fmla="*/ 1522 w 2116"/>
                <a:gd name="T55" fmla="*/ 902 h 1826"/>
                <a:gd name="T56" fmla="*/ 1365 w 2116"/>
                <a:gd name="T57" fmla="*/ 858 h 1826"/>
                <a:gd name="T58" fmla="*/ 1513 w 2116"/>
                <a:gd name="T59" fmla="*/ 820 h 1826"/>
                <a:gd name="T60" fmla="*/ 2016 w 2116"/>
                <a:gd name="T61" fmla="*/ 562 h 1826"/>
                <a:gd name="T62" fmla="*/ 2011 w 2116"/>
                <a:gd name="T63" fmla="*/ 921 h 1826"/>
                <a:gd name="T64" fmla="*/ 2037 w 2116"/>
                <a:gd name="T65" fmla="*/ 1081 h 1826"/>
                <a:gd name="T66" fmla="*/ 1939 w 2116"/>
                <a:gd name="T67" fmla="*/ 1204 h 1826"/>
                <a:gd name="T68" fmla="*/ 1876 w 2116"/>
                <a:gd name="T69" fmla="*/ 1426 h 1826"/>
                <a:gd name="T70" fmla="*/ 1768 w 2116"/>
                <a:gd name="T71" fmla="*/ 1491 h 1826"/>
                <a:gd name="T72" fmla="*/ 1559 w 2116"/>
                <a:gd name="T73" fmla="*/ 1635 h 1826"/>
                <a:gd name="T74" fmla="*/ 1484 w 2116"/>
                <a:gd name="T75" fmla="*/ 1682 h 1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16" h="1826">
                  <a:moveTo>
                    <a:pt x="1285" y="1826"/>
                  </a:moveTo>
                  <a:cubicBezTo>
                    <a:pt x="1278" y="1826"/>
                    <a:pt x="1272" y="1825"/>
                    <a:pt x="1265" y="1824"/>
                  </a:cubicBezTo>
                  <a:cubicBezTo>
                    <a:pt x="1246" y="1822"/>
                    <a:pt x="1232" y="1808"/>
                    <a:pt x="1228" y="1790"/>
                  </a:cubicBezTo>
                  <a:cubicBezTo>
                    <a:pt x="1225" y="1772"/>
                    <a:pt x="1234" y="1754"/>
                    <a:pt x="1251" y="1746"/>
                  </a:cubicBezTo>
                  <a:cubicBezTo>
                    <a:pt x="1284" y="1729"/>
                    <a:pt x="1301" y="1706"/>
                    <a:pt x="1303" y="1671"/>
                  </a:cubicBezTo>
                  <a:cubicBezTo>
                    <a:pt x="1310" y="1579"/>
                    <a:pt x="1212" y="1428"/>
                    <a:pt x="1088" y="1341"/>
                  </a:cubicBezTo>
                  <a:cubicBezTo>
                    <a:pt x="1045" y="1311"/>
                    <a:pt x="987" y="1306"/>
                    <a:pt x="914" y="1301"/>
                  </a:cubicBezTo>
                  <a:cubicBezTo>
                    <a:pt x="757" y="1289"/>
                    <a:pt x="542" y="1272"/>
                    <a:pt x="328" y="968"/>
                  </a:cubicBezTo>
                  <a:cubicBezTo>
                    <a:pt x="208" y="798"/>
                    <a:pt x="260" y="550"/>
                    <a:pt x="299" y="368"/>
                  </a:cubicBezTo>
                  <a:cubicBezTo>
                    <a:pt x="306" y="334"/>
                    <a:pt x="313" y="302"/>
                    <a:pt x="318" y="273"/>
                  </a:cubicBezTo>
                  <a:cubicBezTo>
                    <a:pt x="327" y="222"/>
                    <a:pt x="313" y="158"/>
                    <a:pt x="247" y="134"/>
                  </a:cubicBezTo>
                  <a:cubicBezTo>
                    <a:pt x="188" y="112"/>
                    <a:pt x="104" y="100"/>
                    <a:pt x="68" y="122"/>
                  </a:cubicBezTo>
                  <a:cubicBezTo>
                    <a:pt x="48" y="133"/>
                    <a:pt x="23" y="127"/>
                    <a:pt x="11" y="107"/>
                  </a:cubicBezTo>
                  <a:cubicBezTo>
                    <a:pt x="0" y="87"/>
                    <a:pt x="6" y="62"/>
                    <a:pt x="26" y="50"/>
                  </a:cubicBezTo>
                  <a:cubicBezTo>
                    <a:pt x="111" y="0"/>
                    <a:pt x="249" y="46"/>
                    <a:pt x="276" y="56"/>
                  </a:cubicBezTo>
                  <a:cubicBezTo>
                    <a:pt x="370" y="90"/>
                    <a:pt x="418" y="181"/>
                    <a:pt x="400" y="288"/>
                  </a:cubicBezTo>
                  <a:cubicBezTo>
                    <a:pt x="394" y="318"/>
                    <a:pt x="387" y="351"/>
                    <a:pt x="380" y="385"/>
                  </a:cubicBezTo>
                  <a:cubicBezTo>
                    <a:pt x="343" y="561"/>
                    <a:pt x="297" y="780"/>
                    <a:pt x="396" y="921"/>
                  </a:cubicBezTo>
                  <a:cubicBezTo>
                    <a:pt x="587" y="1192"/>
                    <a:pt x="764" y="1206"/>
                    <a:pt x="920" y="1218"/>
                  </a:cubicBezTo>
                  <a:cubicBezTo>
                    <a:pt x="999" y="1224"/>
                    <a:pt x="1074" y="1229"/>
                    <a:pt x="1136" y="1273"/>
                  </a:cubicBezTo>
                  <a:cubicBezTo>
                    <a:pt x="1267" y="1365"/>
                    <a:pt x="1397" y="1542"/>
                    <a:pt x="1386" y="1678"/>
                  </a:cubicBezTo>
                  <a:lnTo>
                    <a:pt x="1386" y="1681"/>
                  </a:lnTo>
                  <a:cubicBezTo>
                    <a:pt x="1395" y="1669"/>
                    <a:pt x="1403" y="1657"/>
                    <a:pt x="1409" y="1645"/>
                  </a:cubicBezTo>
                  <a:cubicBezTo>
                    <a:pt x="1423" y="1616"/>
                    <a:pt x="1430" y="1557"/>
                    <a:pt x="1425" y="1523"/>
                  </a:cubicBezTo>
                  <a:cubicBezTo>
                    <a:pt x="1415" y="1508"/>
                    <a:pt x="1407" y="1495"/>
                    <a:pt x="1403" y="1485"/>
                  </a:cubicBezTo>
                  <a:cubicBezTo>
                    <a:pt x="1394" y="1468"/>
                    <a:pt x="1398" y="1446"/>
                    <a:pt x="1413" y="1434"/>
                  </a:cubicBezTo>
                  <a:cubicBezTo>
                    <a:pt x="1428" y="1422"/>
                    <a:pt x="1450" y="1421"/>
                    <a:pt x="1465" y="1433"/>
                  </a:cubicBezTo>
                  <a:cubicBezTo>
                    <a:pt x="1482" y="1446"/>
                    <a:pt x="1494" y="1465"/>
                    <a:pt x="1501" y="1487"/>
                  </a:cubicBezTo>
                  <a:cubicBezTo>
                    <a:pt x="1526" y="1522"/>
                    <a:pt x="1556" y="1547"/>
                    <a:pt x="1584" y="1556"/>
                  </a:cubicBezTo>
                  <a:cubicBezTo>
                    <a:pt x="1605" y="1563"/>
                    <a:pt x="1625" y="1561"/>
                    <a:pt x="1645" y="1550"/>
                  </a:cubicBezTo>
                  <a:cubicBezTo>
                    <a:pt x="1678" y="1533"/>
                    <a:pt x="1684" y="1502"/>
                    <a:pt x="1685" y="1486"/>
                  </a:cubicBezTo>
                  <a:cubicBezTo>
                    <a:pt x="1687" y="1459"/>
                    <a:pt x="1678" y="1433"/>
                    <a:pt x="1661" y="1414"/>
                  </a:cubicBezTo>
                  <a:cubicBezTo>
                    <a:pt x="1652" y="1407"/>
                    <a:pt x="1644" y="1400"/>
                    <a:pt x="1636" y="1392"/>
                  </a:cubicBezTo>
                  <a:cubicBezTo>
                    <a:pt x="1622" y="1377"/>
                    <a:pt x="1621" y="1353"/>
                    <a:pt x="1635" y="1336"/>
                  </a:cubicBezTo>
                  <a:cubicBezTo>
                    <a:pt x="1649" y="1320"/>
                    <a:pt x="1673" y="1317"/>
                    <a:pt x="1690" y="1329"/>
                  </a:cubicBezTo>
                  <a:cubicBezTo>
                    <a:pt x="1699" y="1336"/>
                    <a:pt x="1708" y="1343"/>
                    <a:pt x="1716" y="1351"/>
                  </a:cubicBezTo>
                  <a:cubicBezTo>
                    <a:pt x="1751" y="1374"/>
                    <a:pt x="1798" y="1377"/>
                    <a:pt x="1831" y="1356"/>
                  </a:cubicBezTo>
                  <a:cubicBezTo>
                    <a:pt x="1847" y="1346"/>
                    <a:pt x="1860" y="1323"/>
                    <a:pt x="1866" y="1294"/>
                  </a:cubicBezTo>
                  <a:cubicBezTo>
                    <a:pt x="1877" y="1241"/>
                    <a:pt x="1878" y="1235"/>
                    <a:pt x="1768" y="1182"/>
                  </a:cubicBezTo>
                  <a:cubicBezTo>
                    <a:pt x="1748" y="1172"/>
                    <a:pt x="1739" y="1149"/>
                    <a:pt x="1748" y="1128"/>
                  </a:cubicBezTo>
                  <a:cubicBezTo>
                    <a:pt x="1757" y="1108"/>
                    <a:pt x="1780" y="1098"/>
                    <a:pt x="1801" y="1105"/>
                  </a:cubicBezTo>
                  <a:cubicBezTo>
                    <a:pt x="1808" y="1108"/>
                    <a:pt x="1815" y="1111"/>
                    <a:pt x="1823" y="1114"/>
                  </a:cubicBezTo>
                  <a:cubicBezTo>
                    <a:pt x="1851" y="1125"/>
                    <a:pt x="1885" y="1138"/>
                    <a:pt x="1902" y="1130"/>
                  </a:cubicBezTo>
                  <a:cubicBezTo>
                    <a:pt x="1927" y="1116"/>
                    <a:pt x="1951" y="1087"/>
                    <a:pt x="1954" y="1068"/>
                  </a:cubicBezTo>
                  <a:cubicBezTo>
                    <a:pt x="1958" y="1046"/>
                    <a:pt x="1941" y="1011"/>
                    <a:pt x="1919" y="992"/>
                  </a:cubicBezTo>
                  <a:cubicBezTo>
                    <a:pt x="1906" y="982"/>
                    <a:pt x="1895" y="977"/>
                    <a:pt x="1881" y="975"/>
                  </a:cubicBezTo>
                  <a:cubicBezTo>
                    <a:pt x="1874" y="975"/>
                    <a:pt x="1866" y="975"/>
                    <a:pt x="1858" y="975"/>
                  </a:cubicBezTo>
                  <a:cubicBezTo>
                    <a:pt x="1844" y="976"/>
                    <a:pt x="1830" y="976"/>
                    <a:pt x="1811" y="978"/>
                  </a:cubicBezTo>
                  <a:cubicBezTo>
                    <a:pt x="1788" y="980"/>
                    <a:pt x="1768" y="959"/>
                    <a:pt x="1765" y="936"/>
                  </a:cubicBezTo>
                  <a:cubicBezTo>
                    <a:pt x="1763" y="913"/>
                    <a:pt x="1780" y="904"/>
                    <a:pt x="1803" y="887"/>
                  </a:cubicBezTo>
                  <a:lnTo>
                    <a:pt x="1803" y="887"/>
                  </a:lnTo>
                  <a:lnTo>
                    <a:pt x="1812" y="890"/>
                  </a:lnTo>
                  <a:cubicBezTo>
                    <a:pt x="1835" y="887"/>
                    <a:pt x="1859" y="887"/>
                    <a:pt x="1882" y="889"/>
                  </a:cubicBezTo>
                  <a:cubicBezTo>
                    <a:pt x="1905" y="887"/>
                    <a:pt x="1923" y="881"/>
                    <a:pt x="1962" y="852"/>
                  </a:cubicBezTo>
                  <a:cubicBezTo>
                    <a:pt x="2001" y="824"/>
                    <a:pt x="2013" y="781"/>
                    <a:pt x="1997" y="702"/>
                  </a:cubicBezTo>
                  <a:cubicBezTo>
                    <a:pt x="1875" y="827"/>
                    <a:pt x="1620" y="892"/>
                    <a:pt x="1522" y="902"/>
                  </a:cubicBezTo>
                  <a:cubicBezTo>
                    <a:pt x="1484" y="906"/>
                    <a:pt x="1444" y="907"/>
                    <a:pt x="1403" y="903"/>
                  </a:cubicBezTo>
                  <a:cubicBezTo>
                    <a:pt x="1380" y="901"/>
                    <a:pt x="1363" y="881"/>
                    <a:pt x="1365" y="858"/>
                  </a:cubicBezTo>
                  <a:cubicBezTo>
                    <a:pt x="1367" y="835"/>
                    <a:pt x="1387" y="818"/>
                    <a:pt x="1410" y="820"/>
                  </a:cubicBezTo>
                  <a:cubicBezTo>
                    <a:pt x="1446" y="823"/>
                    <a:pt x="1481" y="823"/>
                    <a:pt x="1513" y="820"/>
                  </a:cubicBezTo>
                  <a:cubicBezTo>
                    <a:pt x="1646" y="805"/>
                    <a:pt x="1930" y="711"/>
                    <a:pt x="1975" y="589"/>
                  </a:cubicBezTo>
                  <a:cubicBezTo>
                    <a:pt x="1982" y="572"/>
                    <a:pt x="1998" y="561"/>
                    <a:pt x="2016" y="562"/>
                  </a:cubicBezTo>
                  <a:cubicBezTo>
                    <a:pt x="2033" y="562"/>
                    <a:pt x="2049" y="574"/>
                    <a:pt x="2054" y="591"/>
                  </a:cubicBezTo>
                  <a:cubicBezTo>
                    <a:pt x="2094" y="717"/>
                    <a:pt x="2116" y="845"/>
                    <a:pt x="2011" y="921"/>
                  </a:cubicBezTo>
                  <a:cubicBezTo>
                    <a:pt x="2001" y="928"/>
                    <a:pt x="1992" y="934"/>
                    <a:pt x="1984" y="939"/>
                  </a:cubicBezTo>
                  <a:cubicBezTo>
                    <a:pt x="2018" y="973"/>
                    <a:pt x="2045" y="1029"/>
                    <a:pt x="2037" y="1081"/>
                  </a:cubicBezTo>
                  <a:cubicBezTo>
                    <a:pt x="2029" y="1133"/>
                    <a:pt x="1982" y="1181"/>
                    <a:pt x="1941" y="1203"/>
                  </a:cubicBezTo>
                  <a:lnTo>
                    <a:pt x="1939" y="1204"/>
                  </a:lnTo>
                  <a:cubicBezTo>
                    <a:pt x="1954" y="1231"/>
                    <a:pt x="1957" y="1264"/>
                    <a:pt x="1947" y="1311"/>
                  </a:cubicBezTo>
                  <a:cubicBezTo>
                    <a:pt x="1937" y="1362"/>
                    <a:pt x="1911" y="1404"/>
                    <a:pt x="1876" y="1426"/>
                  </a:cubicBezTo>
                  <a:cubicBezTo>
                    <a:pt x="1843" y="1447"/>
                    <a:pt x="1805" y="1456"/>
                    <a:pt x="1767" y="1453"/>
                  </a:cubicBezTo>
                  <a:cubicBezTo>
                    <a:pt x="1769" y="1466"/>
                    <a:pt x="1769" y="1478"/>
                    <a:pt x="1768" y="1491"/>
                  </a:cubicBezTo>
                  <a:cubicBezTo>
                    <a:pt x="1765" y="1549"/>
                    <a:pt x="1734" y="1597"/>
                    <a:pt x="1684" y="1624"/>
                  </a:cubicBezTo>
                  <a:cubicBezTo>
                    <a:pt x="1644" y="1645"/>
                    <a:pt x="1601" y="1649"/>
                    <a:pt x="1559" y="1635"/>
                  </a:cubicBezTo>
                  <a:cubicBezTo>
                    <a:pt x="1539" y="1629"/>
                    <a:pt x="1521" y="1620"/>
                    <a:pt x="1505" y="1608"/>
                  </a:cubicBezTo>
                  <a:cubicBezTo>
                    <a:pt x="1500" y="1639"/>
                    <a:pt x="1491" y="1666"/>
                    <a:pt x="1484" y="1682"/>
                  </a:cubicBezTo>
                  <a:cubicBezTo>
                    <a:pt x="1450" y="1750"/>
                    <a:pt x="1378" y="1826"/>
                    <a:pt x="1285" y="18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9" name="Freeform 54">
              <a:extLst>
                <a:ext uri="{FF2B5EF4-FFF2-40B4-BE49-F238E27FC236}">
                  <a16:creationId xmlns:a16="http://schemas.microsoft.com/office/drawing/2014/main" id="{B95B33D6-2EAC-42A8-BF41-6FD1E6915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2938" y="3413126"/>
              <a:ext cx="19050" cy="23813"/>
            </a:xfrm>
            <a:custGeom>
              <a:avLst/>
              <a:gdLst>
                <a:gd name="T0" fmla="*/ 68 w 116"/>
                <a:gd name="T1" fmla="*/ 143 h 143"/>
                <a:gd name="T2" fmla="*/ 34 w 116"/>
                <a:gd name="T3" fmla="*/ 124 h 143"/>
                <a:gd name="T4" fmla="*/ 6 w 116"/>
                <a:gd name="T5" fmla="*/ 56 h 143"/>
                <a:gd name="T6" fmla="*/ 36 w 116"/>
                <a:gd name="T7" fmla="*/ 6 h 143"/>
                <a:gd name="T8" fmla="*/ 87 w 116"/>
                <a:gd name="T9" fmla="*/ 36 h 143"/>
                <a:gd name="T10" fmla="*/ 103 w 116"/>
                <a:gd name="T11" fmla="*/ 79 h 143"/>
                <a:gd name="T12" fmla="*/ 91 w 116"/>
                <a:gd name="T13" fmla="*/ 136 h 143"/>
                <a:gd name="T14" fmla="*/ 68 w 116"/>
                <a:gd name="T1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143">
                  <a:moveTo>
                    <a:pt x="68" y="143"/>
                  </a:moveTo>
                  <a:cubicBezTo>
                    <a:pt x="55" y="143"/>
                    <a:pt x="42" y="137"/>
                    <a:pt x="34" y="124"/>
                  </a:cubicBezTo>
                  <a:cubicBezTo>
                    <a:pt x="19" y="102"/>
                    <a:pt x="10" y="75"/>
                    <a:pt x="6" y="56"/>
                  </a:cubicBezTo>
                  <a:cubicBezTo>
                    <a:pt x="0" y="34"/>
                    <a:pt x="14" y="11"/>
                    <a:pt x="36" y="6"/>
                  </a:cubicBezTo>
                  <a:cubicBezTo>
                    <a:pt x="59" y="0"/>
                    <a:pt x="81" y="14"/>
                    <a:pt x="87" y="36"/>
                  </a:cubicBezTo>
                  <a:cubicBezTo>
                    <a:pt x="91" y="54"/>
                    <a:pt x="97" y="69"/>
                    <a:pt x="103" y="79"/>
                  </a:cubicBezTo>
                  <a:cubicBezTo>
                    <a:pt x="116" y="98"/>
                    <a:pt x="111" y="124"/>
                    <a:pt x="91" y="136"/>
                  </a:cubicBezTo>
                  <a:cubicBezTo>
                    <a:pt x="84" y="141"/>
                    <a:pt x="76" y="143"/>
                    <a:pt x="68" y="1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0" name="Freeform 55">
              <a:extLst>
                <a:ext uri="{FF2B5EF4-FFF2-40B4-BE49-F238E27FC236}">
                  <a16:creationId xmlns:a16="http://schemas.microsoft.com/office/drawing/2014/main" id="{34F442E0-1F0E-46D9-9DFB-15EAA26A8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7063" y="3201988"/>
              <a:ext cx="68263" cy="122238"/>
            </a:xfrm>
            <a:custGeom>
              <a:avLst/>
              <a:gdLst>
                <a:gd name="T0" fmla="*/ 46 w 403"/>
                <a:gd name="T1" fmla="*/ 721 h 721"/>
                <a:gd name="T2" fmla="*/ 15 w 403"/>
                <a:gd name="T3" fmla="*/ 708 h 721"/>
                <a:gd name="T4" fmla="*/ 18 w 403"/>
                <a:gd name="T5" fmla="*/ 649 h 721"/>
                <a:gd name="T6" fmla="*/ 65 w 403"/>
                <a:gd name="T7" fmla="*/ 603 h 721"/>
                <a:gd name="T8" fmla="*/ 105 w 403"/>
                <a:gd name="T9" fmla="*/ 561 h 721"/>
                <a:gd name="T10" fmla="*/ 291 w 403"/>
                <a:gd name="T11" fmla="*/ 307 h 721"/>
                <a:gd name="T12" fmla="*/ 305 w 403"/>
                <a:gd name="T13" fmla="*/ 48 h 721"/>
                <a:gd name="T14" fmla="*/ 342 w 403"/>
                <a:gd name="T15" fmla="*/ 2 h 721"/>
                <a:gd name="T16" fmla="*/ 388 w 403"/>
                <a:gd name="T17" fmla="*/ 39 h 721"/>
                <a:gd name="T18" fmla="*/ 370 w 403"/>
                <a:gd name="T19" fmla="*/ 333 h 721"/>
                <a:gd name="T20" fmla="*/ 165 w 403"/>
                <a:gd name="T21" fmla="*/ 620 h 721"/>
                <a:gd name="T22" fmla="*/ 126 w 403"/>
                <a:gd name="T23" fmla="*/ 660 h 721"/>
                <a:gd name="T24" fmla="*/ 74 w 403"/>
                <a:gd name="T25" fmla="*/ 710 h 721"/>
                <a:gd name="T26" fmla="*/ 46 w 403"/>
                <a:gd name="T27" fmla="*/ 721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3" h="721">
                  <a:moveTo>
                    <a:pt x="46" y="721"/>
                  </a:moveTo>
                  <a:cubicBezTo>
                    <a:pt x="35" y="721"/>
                    <a:pt x="24" y="717"/>
                    <a:pt x="15" y="708"/>
                  </a:cubicBezTo>
                  <a:cubicBezTo>
                    <a:pt x="0" y="691"/>
                    <a:pt x="1" y="664"/>
                    <a:pt x="18" y="649"/>
                  </a:cubicBezTo>
                  <a:cubicBezTo>
                    <a:pt x="35" y="634"/>
                    <a:pt x="51" y="618"/>
                    <a:pt x="65" y="603"/>
                  </a:cubicBezTo>
                  <a:cubicBezTo>
                    <a:pt x="78" y="589"/>
                    <a:pt x="92" y="575"/>
                    <a:pt x="105" y="561"/>
                  </a:cubicBezTo>
                  <a:cubicBezTo>
                    <a:pt x="182" y="483"/>
                    <a:pt x="261" y="402"/>
                    <a:pt x="291" y="307"/>
                  </a:cubicBezTo>
                  <a:cubicBezTo>
                    <a:pt x="319" y="222"/>
                    <a:pt x="313" y="124"/>
                    <a:pt x="305" y="48"/>
                  </a:cubicBezTo>
                  <a:cubicBezTo>
                    <a:pt x="303" y="25"/>
                    <a:pt x="319" y="4"/>
                    <a:pt x="342" y="2"/>
                  </a:cubicBezTo>
                  <a:cubicBezTo>
                    <a:pt x="365" y="0"/>
                    <a:pt x="386" y="16"/>
                    <a:pt x="388" y="39"/>
                  </a:cubicBezTo>
                  <a:cubicBezTo>
                    <a:pt x="397" y="123"/>
                    <a:pt x="403" y="232"/>
                    <a:pt x="370" y="333"/>
                  </a:cubicBezTo>
                  <a:cubicBezTo>
                    <a:pt x="334" y="446"/>
                    <a:pt x="244" y="538"/>
                    <a:pt x="165" y="620"/>
                  </a:cubicBezTo>
                  <a:cubicBezTo>
                    <a:pt x="152" y="633"/>
                    <a:pt x="138" y="647"/>
                    <a:pt x="126" y="660"/>
                  </a:cubicBezTo>
                  <a:cubicBezTo>
                    <a:pt x="110" y="677"/>
                    <a:pt x="92" y="694"/>
                    <a:pt x="74" y="710"/>
                  </a:cubicBezTo>
                  <a:cubicBezTo>
                    <a:pt x="66" y="718"/>
                    <a:pt x="56" y="721"/>
                    <a:pt x="46" y="7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1" name="Freeform 56">
              <a:extLst>
                <a:ext uri="{FF2B5EF4-FFF2-40B4-BE49-F238E27FC236}">
                  <a16:creationId xmlns:a16="http://schemas.microsoft.com/office/drawing/2014/main" id="{8D41BAC4-CA48-4045-AB48-D5B690E4E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76" y="3355976"/>
              <a:ext cx="53975" cy="79375"/>
            </a:xfrm>
            <a:custGeom>
              <a:avLst/>
              <a:gdLst>
                <a:gd name="T0" fmla="*/ 50 w 311"/>
                <a:gd name="T1" fmla="*/ 464 h 464"/>
                <a:gd name="T2" fmla="*/ 8 w 311"/>
                <a:gd name="T3" fmla="*/ 429 h 464"/>
                <a:gd name="T4" fmla="*/ 16 w 311"/>
                <a:gd name="T5" fmla="*/ 242 h 464"/>
                <a:gd name="T6" fmla="*/ 90 w 311"/>
                <a:gd name="T7" fmla="*/ 125 h 464"/>
                <a:gd name="T8" fmla="*/ 244 w 311"/>
                <a:gd name="T9" fmla="*/ 10 h 464"/>
                <a:gd name="T10" fmla="*/ 300 w 311"/>
                <a:gd name="T11" fmla="*/ 28 h 464"/>
                <a:gd name="T12" fmla="*/ 282 w 311"/>
                <a:gd name="T13" fmla="*/ 84 h 464"/>
                <a:gd name="T14" fmla="*/ 153 w 311"/>
                <a:gd name="T15" fmla="*/ 180 h 464"/>
                <a:gd name="T16" fmla="*/ 95 w 311"/>
                <a:gd name="T17" fmla="*/ 267 h 464"/>
                <a:gd name="T18" fmla="*/ 91 w 311"/>
                <a:gd name="T19" fmla="*/ 416 h 464"/>
                <a:gd name="T20" fmla="*/ 56 w 311"/>
                <a:gd name="T21" fmla="*/ 464 h 464"/>
                <a:gd name="T22" fmla="*/ 50 w 311"/>
                <a:gd name="T2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1" h="464">
                  <a:moveTo>
                    <a:pt x="50" y="464"/>
                  </a:moveTo>
                  <a:cubicBezTo>
                    <a:pt x="29" y="464"/>
                    <a:pt x="12" y="450"/>
                    <a:pt x="8" y="429"/>
                  </a:cubicBezTo>
                  <a:cubicBezTo>
                    <a:pt x="0" y="376"/>
                    <a:pt x="1" y="288"/>
                    <a:pt x="16" y="242"/>
                  </a:cubicBezTo>
                  <a:cubicBezTo>
                    <a:pt x="29" y="199"/>
                    <a:pt x="64" y="155"/>
                    <a:pt x="90" y="125"/>
                  </a:cubicBezTo>
                  <a:cubicBezTo>
                    <a:pt x="138" y="69"/>
                    <a:pt x="201" y="33"/>
                    <a:pt x="244" y="10"/>
                  </a:cubicBezTo>
                  <a:cubicBezTo>
                    <a:pt x="264" y="0"/>
                    <a:pt x="289" y="8"/>
                    <a:pt x="300" y="28"/>
                  </a:cubicBezTo>
                  <a:cubicBezTo>
                    <a:pt x="311" y="48"/>
                    <a:pt x="303" y="74"/>
                    <a:pt x="282" y="84"/>
                  </a:cubicBezTo>
                  <a:cubicBezTo>
                    <a:pt x="223" y="115"/>
                    <a:pt x="183" y="145"/>
                    <a:pt x="153" y="180"/>
                  </a:cubicBezTo>
                  <a:cubicBezTo>
                    <a:pt x="121" y="217"/>
                    <a:pt x="102" y="246"/>
                    <a:pt x="95" y="267"/>
                  </a:cubicBezTo>
                  <a:cubicBezTo>
                    <a:pt x="86" y="296"/>
                    <a:pt x="84" y="370"/>
                    <a:pt x="91" y="416"/>
                  </a:cubicBezTo>
                  <a:cubicBezTo>
                    <a:pt x="94" y="439"/>
                    <a:pt x="79" y="460"/>
                    <a:pt x="56" y="464"/>
                  </a:cubicBezTo>
                  <a:cubicBezTo>
                    <a:pt x="54" y="464"/>
                    <a:pt x="52" y="464"/>
                    <a:pt x="50" y="4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2" name="Freeform 57">
              <a:extLst>
                <a:ext uri="{FF2B5EF4-FFF2-40B4-BE49-F238E27FC236}">
                  <a16:creationId xmlns:a16="http://schemas.microsoft.com/office/drawing/2014/main" id="{E38461AE-D97C-4A76-B75C-6CBE918CC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038" y="3205163"/>
              <a:ext cx="38100" cy="98425"/>
            </a:xfrm>
            <a:custGeom>
              <a:avLst/>
              <a:gdLst>
                <a:gd name="T0" fmla="*/ 170 w 221"/>
                <a:gd name="T1" fmla="*/ 584 h 584"/>
                <a:gd name="T2" fmla="*/ 163 w 221"/>
                <a:gd name="T3" fmla="*/ 584 h 584"/>
                <a:gd name="T4" fmla="*/ 129 w 221"/>
                <a:gd name="T5" fmla="*/ 536 h 584"/>
                <a:gd name="T6" fmla="*/ 134 w 221"/>
                <a:gd name="T7" fmla="*/ 410 h 584"/>
                <a:gd name="T8" fmla="*/ 14 w 221"/>
                <a:gd name="T9" fmla="*/ 71 h 584"/>
                <a:gd name="T10" fmla="*/ 23 w 221"/>
                <a:gd name="T11" fmla="*/ 13 h 584"/>
                <a:gd name="T12" fmla="*/ 81 w 221"/>
                <a:gd name="T13" fmla="*/ 23 h 584"/>
                <a:gd name="T14" fmla="*/ 217 w 221"/>
                <a:gd name="T15" fmla="*/ 404 h 584"/>
                <a:gd name="T16" fmla="*/ 211 w 221"/>
                <a:gd name="T17" fmla="*/ 550 h 584"/>
                <a:gd name="T18" fmla="*/ 170 w 221"/>
                <a:gd name="T19" fmla="*/ 584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584">
                  <a:moveTo>
                    <a:pt x="170" y="584"/>
                  </a:moveTo>
                  <a:cubicBezTo>
                    <a:pt x="168" y="584"/>
                    <a:pt x="165" y="584"/>
                    <a:pt x="163" y="584"/>
                  </a:cubicBezTo>
                  <a:cubicBezTo>
                    <a:pt x="140" y="580"/>
                    <a:pt x="125" y="558"/>
                    <a:pt x="129" y="536"/>
                  </a:cubicBezTo>
                  <a:cubicBezTo>
                    <a:pt x="136" y="497"/>
                    <a:pt x="137" y="454"/>
                    <a:pt x="134" y="410"/>
                  </a:cubicBezTo>
                  <a:cubicBezTo>
                    <a:pt x="126" y="309"/>
                    <a:pt x="69" y="148"/>
                    <a:pt x="14" y="71"/>
                  </a:cubicBezTo>
                  <a:cubicBezTo>
                    <a:pt x="0" y="53"/>
                    <a:pt x="5" y="27"/>
                    <a:pt x="23" y="13"/>
                  </a:cubicBezTo>
                  <a:cubicBezTo>
                    <a:pt x="42" y="0"/>
                    <a:pt x="68" y="4"/>
                    <a:pt x="81" y="23"/>
                  </a:cubicBezTo>
                  <a:cubicBezTo>
                    <a:pt x="145" y="110"/>
                    <a:pt x="208" y="288"/>
                    <a:pt x="217" y="404"/>
                  </a:cubicBezTo>
                  <a:cubicBezTo>
                    <a:pt x="221" y="455"/>
                    <a:pt x="219" y="504"/>
                    <a:pt x="211" y="550"/>
                  </a:cubicBezTo>
                  <a:cubicBezTo>
                    <a:pt x="208" y="570"/>
                    <a:pt x="190" y="584"/>
                    <a:pt x="170" y="5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3" name="Freeform 58">
              <a:extLst>
                <a:ext uri="{FF2B5EF4-FFF2-40B4-BE49-F238E27FC236}">
                  <a16:creationId xmlns:a16="http://schemas.microsoft.com/office/drawing/2014/main" id="{9BBFE7DA-CB31-4155-90E1-DAE4A1830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0526" y="3314701"/>
              <a:ext cx="130175" cy="73025"/>
            </a:xfrm>
            <a:custGeom>
              <a:avLst/>
              <a:gdLst>
                <a:gd name="T0" fmla="*/ 47 w 770"/>
                <a:gd name="T1" fmla="*/ 431 h 431"/>
                <a:gd name="T2" fmla="*/ 10 w 770"/>
                <a:gd name="T3" fmla="*/ 408 h 431"/>
                <a:gd name="T4" fmla="*/ 29 w 770"/>
                <a:gd name="T5" fmla="*/ 352 h 431"/>
                <a:gd name="T6" fmla="*/ 135 w 770"/>
                <a:gd name="T7" fmla="*/ 218 h 431"/>
                <a:gd name="T8" fmla="*/ 301 w 770"/>
                <a:gd name="T9" fmla="*/ 36 h 431"/>
                <a:gd name="T10" fmla="*/ 591 w 770"/>
                <a:gd name="T11" fmla="*/ 64 h 431"/>
                <a:gd name="T12" fmla="*/ 702 w 770"/>
                <a:gd name="T13" fmla="*/ 195 h 431"/>
                <a:gd name="T14" fmla="*/ 719 w 770"/>
                <a:gd name="T15" fmla="*/ 241 h 431"/>
                <a:gd name="T16" fmla="*/ 743 w 770"/>
                <a:gd name="T17" fmla="*/ 298 h 431"/>
                <a:gd name="T18" fmla="*/ 761 w 770"/>
                <a:gd name="T19" fmla="*/ 351 h 431"/>
                <a:gd name="T20" fmla="*/ 707 w 770"/>
                <a:gd name="T21" fmla="*/ 373 h 431"/>
                <a:gd name="T22" fmla="*/ 641 w 770"/>
                <a:gd name="T23" fmla="*/ 268 h 431"/>
                <a:gd name="T24" fmla="*/ 627 w 770"/>
                <a:gd name="T25" fmla="*/ 231 h 431"/>
                <a:gd name="T26" fmla="*/ 548 w 770"/>
                <a:gd name="T27" fmla="*/ 135 h 431"/>
                <a:gd name="T28" fmla="*/ 330 w 770"/>
                <a:gd name="T29" fmla="*/ 114 h 431"/>
                <a:gd name="T30" fmla="*/ 210 w 770"/>
                <a:gd name="T31" fmla="*/ 253 h 431"/>
                <a:gd name="T32" fmla="*/ 65 w 770"/>
                <a:gd name="T33" fmla="*/ 427 h 431"/>
                <a:gd name="T34" fmla="*/ 47 w 770"/>
                <a:gd name="T35" fmla="*/ 431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0" h="431">
                  <a:moveTo>
                    <a:pt x="47" y="431"/>
                  </a:moveTo>
                  <a:cubicBezTo>
                    <a:pt x="32" y="431"/>
                    <a:pt x="17" y="423"/>
                    <a:pt x="10" y="408"/>
                  </a:cubicBezTo>
                  <a:cubicBezTo>
                    <a:pt x="0" y="387"/>
                    <a:pt x="9" y="362"/>
                    <a:pt x="29" y="352"/>
                  </a:cubicBezTo>
                  <a:cubicBezTo>
                    <a:pt x="86" y="325"/>
                    <a:pt x="109" y="276"/>
                    <a:pt x="135" y="218"/>
                  </a:cubicBezTo>
                  <a:cubicBezTo>
                    <a:pt x="166" y="150"/>
                    <a:pt x="201" y="73"/>
                    <a:pt x="301" y="36"/>
                  </a:cubicBezTo>
                  <a:cubicBezTo>
                    <a:pt x="399" y="0"/>
                    <a:pt x="502" y="10"/>
                    <a:pt x="591" y="64"/>
                  </a:cubicBezTo>
                  <a:cubicBezTo>
                    <a:pt x="647" y="98"/>
                    <a:pt x="675" y="139"/>
                    <a:pt x="702" y="195"/>
                  </a:cubicBezTo>
                  <a:cubicBezTo>
                    <a:pt x="708" y="208"/>
                    <a:pt x="714" y="224"/>
                    <a:pt x="719" y="241"/>
                  </a:cubicBezTo>
                  <a:cubicBezTo>
                    <a:pt x="725" y="258"/>
                    <a:pt x="736" y="289"/>
                    <a:pt x="743" y="298"/>
                  </a:cubicBezTo>
                  <a:cubicBezTo>
                    <a:pt x="762" y="308"/>
                    <a:pt x="770" y="331"/>
                    <a:pt x="761" y="351"/>
                  </a:cubicBezTo>
                  <a:cubicBezTo>
                    <a:pt x="752" y="372"/>
                    <a:pt x="728" y="382"/>
                    <a:pt x="707" y="373"/>
                  </a:cubicBezTo>
                  <a:cubicBezTo>
                    <a:pt x="672" y="358"/>
                    <a:pt x="657" y="314"/>
                    <a:pt x="641" y="268"/>
                  </a:cubicBezTo>
                  <a:cubicBezTo>
                    <a:pt x="636" y="253"/>
                    <a:pt x="631" y="239"/>
                    <a:pt x="627" y="231"/>
                  </a:cubicBezTo>
                  <a:cubicBezTo>
                    <a:pt x="605" y="186"/>
                    <a:pt x="587" y="159"/>
                    <a:pt x="548" y="135"/>
                  </a:cubicBezTo>
                  <a:cubicBezTo>
                    <a:pt x="480" y="94"/>
                    <a:pt x="405" y="87"/>
                    <a:pt x="330" y="114"/>
                  </a:cubicBezTo>
                  <a:cubicBezTo>
                    <a:pt x="263" y="139"/>
                    <a:pt x="238" y="192"/>
                    <a:pt x="210" y="253"/>
                  </a:cubicBezTo>
                  <a:cubicBezTo>
                    <a:pt x="182" y="316"/>
                    <a:pt x="149" y="387"/>
                    <a:pt x="65" y="427"/>
                  </a:cubicBezTo>
                  <a:cubicBezTo>
                    <a:pt x="60" y="430"/>
                    <a:pt x="53" y="431"/>
                    <a:pt x="47" y="4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4" name="Freeform 59">
              <a:extLst>
                <a:ext uri="{FF2B5EF4-FFF2-40B4-BE49-F238E27FC236}">
                  <a16:creationId xmlns:a16="http://schemas.microsoft.com/office/drawing/2014/main" id="{7108DFF4-0486-4A37-9FE3-D3ABFB2FA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0526" y="3368676"/>
              <a:ext cx="333375" cy="307975"/>
            </a:xfrm>
            <a:custGeom>
              <a:avLst/>
              <a:gdLst>
                <a:gd name="T0" fmla="*/ 1286 w 1972"/>
                <a:gd name="T1" fmla="*/ 1826 h 1826"/>
                <a:gd name="T2" fmla="*/ 1265 w 1972"/>
                <a:gd name="T3" fmla="*/ 1825 h 1826"/>
                <a:gd name="T4" fmla="*/ 1229 w 1972"/>
                <a:gd name="T5" fmla="*/ 1791 h 1826"/>
                <a:gd name="T6" fmla="*/ 1252 w 1972"/>
                <a:gd name="T7" fmla="*/ 1746 h 1826"/>
                <a:gd name="T8" fmla="*/ 1304 w 1972"/>
                <a:gd name="T9" fmla="*/ 1672 h 1826"/>
                <a:gd name="T10" fmla="*/ 1089 w 1972"/>
                <a:gd name="T11" fmla="*/ 1341 h 1826"/>
                <a:gd name="T12" fmla="*/ 914 w 1972"/>
                <a:gd name="T13" fmla="*/ 1301 h 1826"/>
                <a:gd name="T14" fmla="*/ 329 w 1972"/>
                <a:gd name="T15" fmla="*/ 969 h 1826"/>
                <a:gd name="T16" fmla="*/ 299 w 1972"/>
                <a:gd name="T17" fmla="*/ 369 h 1826"/>
                <a:gd name="T18" fmla="*/ 318 w 1972"/>
                <a:gd name="T19" fmla="*/ 274 h 1826"/>
                <a:gd name="T20" fmla="*/ 248 w 1972"/>
                <a:gd name="T21" fmla="*/ 135 h 1826"/>
                <a:gd name="T22" fmla="*/ 69 w 1972"/>
                <a:gd name="T23" fmla="*/ 122 h 1826"/>
                <a:gd name="T24" fmla="*/ 12 w 1972"/>
                <a:gd name="T25" fmla="*/ 108 h 1826"/>
                <a:gd name="T26" fmla="*/ 27 w 1972"/>
                <a:gd name="T27" fmla="*/ 51 h 1826"/>
                <a:gd name="T28" fmla="*/ 277 w 1972"/>
                <a:gd name="T29" fmla="*/ 56 h 1826"/>
                <a:gd name="T30" fmla="*/ 400 w 1972"/>
                <a:gd name="T31" fmla="*/ 288 h 1826"/>
                <a:gd name="T32" fmla="*/ 381 w 1972"/>
                <a:gd name="T33" fmla="*/ 386 h 1826"/>
                <a:gd name="T34" fmla="*/ 397 w 1972"/>
                <a:gd name="T35" fmla="*/ 921 h 1826"/>
                <a:gd name="T36" fmla="*/ 921 w 1972"/>
                <a:gd name="T37" fmla="*/ 1218 h 1826"/>
                <a:gd name="T38" fmla="*/ 1136 w 1972"/>
                <a:gd name="T39" fmla="*/ 1273 h 1826"/>
                <a:gd name="T40" fmla="*/ 1387 w 1972"/>
                <a:gd name="T41" fmla="*/ 1679 h 1826"/>
                <a:gd name="T42" fmla="*/ 1387 w 1972"/>
                <a:gd name="T43" fmla="*/ 1682 h 1826"/>
                <a:gd name="T44" fmla="*/ 1410 w 1972"/>
                <a:gd name="T45" fmla="*/ 1645 h 1826"/>
                <a:gd name="T46" fmla="*/ 1425 w 1972"/>
                <a:gd name="T47" fmla="*/ 1523 h 1826"/>
                <a:gd name="T48" fmla="*/ 1403 w 1972"/>
                <a:gd name="T49" fmla="*/ 1486 h 1826"/>
                <a:gd name="T50" fmla="*/ 1414 w 1972"/>
                <a:gd name="T51" fmla="*/ 1435 h 1826"/>
                <a:gd name="T52" fmla="*/ 1466 w 1972"/>
                <a:gd name="T53" fmla="*/ 1434 h 1826"/>
                <a:gd name="T54" fmla="*/ 1501 w 1972"/>
                <a:gd name="T55" fmla="*/ 1487 h 1826"/>
                <a:gd name="T56" fmla="*/ 1585 w 1972"/>
                <a:gd name="T57" fmla="*/ 1557 h 1826"/>
                <a:gd name="T58" fmla="*/ 1646 w 1972"/>
                <a:gd name="T59" fmla="*/ 1551 h 1826"/>
                <a:gd name="T60" fmla="*/ 1686 w 1972"/>
                <a:gd name="T61" fmla="*/ 1486 h 1826"/>
                <a:gd name="T62" fmla="*/ 1661 w 1972"/>
                <a:gd name="T63" fmla="*/ 1414 h 1826"/>
                <a:gd name="T64" fmla="*/ 1637 w 1972"/>
                <a:gd name="T65" fmla="*/ 1393 h 1826"/>
                <a:gd name="T66" fmla="*/ 1636 w 1972"/>
                <a:gd name="T67" fmla="*/ 1337 h 1826"/>
                <a:gd name="T68" fmla="*/ 1691 w 1972"/>
                <a:gd name="T69" fmla="*/ 1330 h 1826"/>
                <a:gd name="T70" fmla="*/ 1716 w 1972"/>
                <a:gd name="T71" fmla="*/ 1351 h 1826"/>
                <a:gd name="T72" fmla="*/ 1831 w 1972"/>
                <a:gd name="T73" fmla="*/ 1357 h 1826"/>
                <a:gd name="T74" fmla="*/ 1866 w 1972"/>
                <a:gd name="T75" fmla="*/ 1295 h 1826"/>
                <a:gd name="T76" fmla="*/ 1769 w 1972"/>
                <a:gd name="T77" fmla="*/ 1183 h 1826"/>
                <a:gd name="T78" fmla="*/ 1750 w 1972"/>
                <a:gd name="T79" fmla="*/ 1127 h 1826"/>
                <a:gd name="T80" fmla="*/ 1805 w 1972"/>
                <a:gd name="T81" fmla="*/ 1108 h 1826"/>
                <a:gd name="T82" fmla="*/ 1948 w 1972"/>
                <a:gd name="T83" fmla="*/ 1312 h 1826"/>
                <a:gd name="T84" fmla="*/ 1877 w 1972"/>
                <a:gd name="T85" fmla="*/ 1427 h 1826"/>
                <a:gd name="T86" fmla="*/ 1767 w 1972"/>
                <a:gd name="T87" fmla="*/ 1454 h 1826"/>
                <a:gd name="T88" fmla="*/ 1769 w 1972"/>
                <a:gd name="T89" fmla="*/ 1491 h 1826"/>
                <a:gd name="T90" fmla="*/ 1685 w 1972"/>
                <a:gd name="T91" fmla="*/ 1624 h 1826"/>
                <a:gd name="T92" fmla="*/ 1559 w 1972"/>
                <a:gd name="T93" fmla="*/ 1636 h 1826"/>
                <a:gd name="T94" fmla="*/ 1506 w 1972"/>
                <a:gd name="T95" fmla="*/ 1609 h 1826"/>
                <a:gd name="T96" fmla="*/ 1484 w 1972"/>
                <a:gd name="T97" fmla="*/ 1682 h 1826"/>
                <a:gd name="T98" fmla="*/ 1286 w 1972"/>
                <a:gd name="T99" fmla="*/ 1826 h 1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72" h="1826">
                  <a:moveTo>
                    <a:pt x="1286" y="1826"/>
                  </a:moveTo>
                  <a:cubicBezTo>
                    <a:pt x="1279" y="1826"/>
                    <a:pt x="1272" y="1826"/>
                    <a:pt x="1265" y="1825"/>
                  </a:cubicBezTo>
                  <a:cubicBezTo>
                    <a:pt x="1247" y="1823"/>
                    <a:pt x="1232" y="1809"/>
                    <a:pt x="1229" y="1791"/>
                  </a:cubicBezTo>
                  <a:cubicBezTo>
                    <a:pt x="1226" y="1773"/>
                    <a:pt x="1235" y="1754"/>
                    <a:pt x="1252" y="1746"/>
                  </a:cubicBezTo>
                  <a:cubicBezTo>
                    <a:pt x="1285" y="1730"/>
                    <a:pt x="1301" y="1706"/>
                    <a:pt x="1304" y="1672"/>
                  </a:cubicBezTo>
                  <a:cubicBezTo>
                    <a:pt x="1311" y="1580"/>
                    <a:pt x="1212" y="1428"/>
                    <a:pt x="1089" y="1341"/>
                  </a:cubicBezTo>
                  <a:cubicBezTo>
                    <a:pt x="1046" y="1311"/>
                    <a:pt x="988" y="1307"/>
                    <a:pt x="914" y="1301"/>
                  </a:cubicBezTo>
                  <a:cubicBezTo>
                    <a:pt x="757" y="1289"/>
                    <a:pt x="543" y="1273"/>
                    <a:pt x="329" y="969"/>
                  </a:cubicBezTo>
                  <a:cubicBezTo>
                    <a:pt x="209" y="799"/>
                    <a:pt x="261" y="550"/>
                    <a:pt x="299" y="369"/>
                  </a:cubicBezTo>
                  <a:cubicBezTo>
                    <a:pt x="306" y="335"/>
                    <a:pt x="313" y="303"/>
                    <a:pt x="318" y="274"/>
                  </a:cubicBezTo>
                  <a:cubicBezTo>
                    <a:pt x="327" y="222"/>
                    <a:pt x="314" y="159"/>
                    <a:pt x="248" y="135"/>
                  </a:cubicBezTo>
                  <a:cubicBezTo>
                    <a:pt x="188" y="113"/>
                    <a:pt x="105" y="101"/>
                    <a:pt x="69" y="122"/>
                  </a:cubicBezTo>
                  <a:cubicBezTo>
                    <a:pt x="49" y="134"/>
                    <a:pt x="24" y="128"/>
                    <a:pt x="12" y="108"/>
                  </a:cubicBezTo>
                  <a:cubicBezTo>
                    <a:pt x="0" y="88"/>
                    <a:pt x="7" y="62"/>
                    <a:pt x="27" y="51"/>
                  </a:cubicBezTo>
                  <a:cubicBezTo>
                    <a:pt x="112" y="0"/>
                    <a:pt x="250" y="47"/>
                    <a:pt x="277" y="56"/>
                  </a:cubicBezTo>
                  <a:cubicBezTo>
                    <a:pt x="370" y="91"/>
                    <a:pt x="419" y="182"/>
                    <a:pt x="400" y="288"/>
                  </a:cubicBezTo>
                  <a:cubicBezTo>
                    <a:pt x="395" y="318"/>
                    <a:pt x="388" y="351"/>
                    <a:pt x="381" y="386"/>
                  </a:cubicBezTo>
                  <a:cubicBezTo>
                    <a:pt x="344" y="562"/>
                    <a:pt x="298" y="780"/>
                    <a:pt x="397" y="921"/>
                  </a:cubicBezTo>
                  <a:cubicBezTo>
                    <a:pt x="588" y="1193"/>
                    <a:pt x="765" y="1206"/>
                    <a:pt x="921" y="1218"/>
                  </a:cubicBezTo>
                  <a:cubicBezTo>
                    <a:pt x="1000" y="1224"/>
                    <a:pt x="1075" y="1230"/>
                    <a:pt x="1136" y="1273"/>
                  </a:cubicBezTo>
                  <a:cubicBezTo>
                    <a:pt x="1268" y="1366"/>
                    <a:pt x="1398" y="1542"/>
                    <a:pt x="1387" y="1679"/>
                  </a:cubicBezTo>
                  <a:lnTo>
                    <a:pt x="1387" y="1682"/>
                  </a:lnTo>
                  <a:cubicBezTo>
                    <a:pt x="1396" y="1670"/>
                    <a:pt x="1404" y="1658"/>
                    <a:pt x="1410" y="1645"/>
                  </a:cubicBezTo>
                  <a:cubicBezTo>
                    <a:pt x="1424" y="1617"/>
                    <a:pt x="1431" y="1558"/>
                    <a:pt x="1425" y="1523"/>
                  </a:cubicBezTo>
                  <a:cubicBezTo>
                    <a:pt x="1416" y="1509"/>
                    <a:pt x="1408" y="1495"/>
                    <a:pt x="1403" y="1486"/>
                  </a:cubicBezTo>
                  <a:cubicBezTo>
                    <a:pt x="1394" y="1468"/>
                    <a:pt x="1399" y="1447"/>
                    <a:pt x="1414" y="1435"/>
                  </a:cubicBezTo>
                  <a:cubicBezTo>
                    <a:pt x="1429" y="1422"/>
                    <a:pt x="1450" y="1422"/>
                    <a:pt x="1466" y="1434"/>
                  </a:cubicBezTo>
                  <a:cubicBezTo>
                    <a:pt x="1483" y="1447"/>
                    <a:pt x="1495" y="1466"/>
                    <a:pt x="1501" y="1487"/>
                  </a:cubicBezTo>
                  <a:cubicBezTo>
                    <a:pt x="1526" y="1522"/>
                    <a:pt x="1556" y="1548"/>
                    <a:pt x="1585" y="1557"/>
                  </a:cubicBezTo>
                  <a:cubicBezTo>
                    <a:pt x="1606" y="1563"/>
                    <a:pt x="1625" y="1561"/>
                    <a:pt x="1646" y="1551"/>
                  </a:cubicBezTo>
                  <a:cubicBezTo>
                    <a:pt x="1678" y="1534"/>
                    <a:pt x="1685" y="1503"/>
                    <a:pt x="1686" y="1486"/>
                  </a:cubicBezTo>
                  <a:cubicBezTo>
                    <a:pt x="1687" y="1460"/>
                    <a:pt x="1678" y="1434"/>
                    <a:pt x="1661" y="1414"/>
                  </a:cubicBezTo>
                  <a:cubicBezTo>
                    <a:pt x="1653" y="1408"/>
                    <a:pt x="1645" y="1401"/>
                    <a:pt x="1637" y="1393"/>
                  </a:cubicBezTo>
                  <a:cubicBezTo>
                    <a:pt x="1622" y="1378"/>
                    <a:pt x="1622" y="1353"/>
                    <a:pt x="1636" y="1337"/>
                  </a:cubicBezTo>
                  <a:cubicBezTo>
                    <a:pt x="1649" y="1321"/>
                    <a:pt x="1673" y="1318"/>
                    <a:pt x="1691" y="1330"/>
                  </a:cubicBezTo>
                  <a:cubicBezTo>
                    <a:pt x="1700" y="1336"/>
                    <a:pt x="1709" y="1343"/>
                    <a:pt x="1716" y="1351"/>
                  </a:cubicBezTo>
                  <a:cubicBezTo>
                    <a:pt x="1752" y="1375"/>
                    <a:pt x="1798" y="1378"/>
                    <a:pt x="1831" y="1357"/>
                  </a:cubicBezTo>
                  <a:cubicBezTo>
                    <a:pt x="1848" y="1346"/>
                    <a:pt x="1861" y="1323"/>
                    <a:pt x="1866" y="1295"/>
                  </a:cubicBezTo>
                  <a:cubicBezTo>
                    <a:pt x="1877" y="1241"/>
                    <a:pt x="1878" y="1236"/>
                    <a:pt x="1769" y="1183"/>
                  </a:cubicBezTo>
                  <a:cubicBezTo>
                    <a:pt x="1748" y="1172"/>
                    <a:pt x="1740" y="1148"/>
                    <a:pt x="1750" y="1127"/>
                  </a:cubicBezTo>
                  <a:cubicBezTo>
                    <a:pt x="1760" y="1106"/>
                    <a:pt x="1785" y="1097"/>
                    <a:pt x="1805" y="1108"/>
                  </a:cubicBezTo>
                  <a:cubicBezTo>
                    <a:pt x="1916" y="1161"/>
                    <a:pt x="1972" y="1194"/>
                    <a:pt x="1948" y="1312"/>
                  </a:cubicBezTo>
                  <a:cubicBezTo>
                    <a:pt x="1938" y="1362"/>
                    <a:pt x="1912" y="1404"/>
                    <a:pt x="1877" y="1427"/>
                  </a:cubicBezTo>
                  <a:cubicBezTo>
                    <a:pt x="1844" y="1448"/>
                    <a:pt x="1806" y="1457"/>
                    <a:pt x="1767" y="1454"/>
                  </a:cubicBezTo>
                  <a:cubicBezTo>
                    <a:pt x="1769" y="1466"/>
                    <a:pt x="1770" y="1479"/>
                    <a:pt x="1769" y="1491"/>
                  </a:cubicBezTo>
                  <a:cubicBezTo>
                    <a:pt x="1765" y="1550"/>
                    <a:pt x="1735" y="1598"/>
                    <a:pt x="1685" y="1624"/>
                  </a:cubicBezTo>
                  <a:cubicBezTo>
                    <a:pt x="1645" y="1645"/>
                    <a:pt x="1601" y="1649"/>
                    <a:pt x="1559" y="1636"/>
                  </a:cubicBezTo>
                  <a:cubicBezTo>
                    <a:pt x="1540" y="1630"/>
                    <a:pt x="1522" y="1620"/>
                    <a:pt x="1506" y="1609"/>
                  </a:cubicBezTo>
                  <a:cubicBezTo>
                    <a:pt x="1500" y="1640"/>
                    <a:pt x="1492" y="1667"/>
                    <a:pt x="1484" y="1682"/>
                  </a:cubicBezTo>
                  <a:cubicBezTo>
                    <a:pt x="1450" y="1751"/>
                    <a:pt x="1379" y="1826"/>
                    <a:pt x="1286" y="18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5" name="Freeform 60">
              <a:extLst>
                <a:ext uri="{FF2B5EF4-FFF2-40B4-BE49-F238E27FC236}">
                  <a16:creationId xmlns:a16="http://schemas.microsoft.com/office/drawing/2014/main" id="{66E77C28-7D4C-4832-8B65-318F2F749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9113" y="3440113"/>
              <a:ext cx="19050" cy="25400"/>
            </a:xfrm>
            <a:custGeom>
              <a:avLst/>
              <a:gdLst>
                <a:gd name="T0" fmla="*/ 68 w 116"/>
                <a:gd name="T1" fmla="*/ 143 h 143"/>
                <a:gd name="T2" fmla="*/ 33 w 116"/>
                <a:gd name="T3" fmla="*/ 124 h 143"/>
                <a:gd name="T4" fmla="*/ 5 w 116"/>
                <a:gd name="T5" fmla="*/ 56 h 143"/>
                <a:gd name="T6" fmla="*/ 36 w 116"/>
                <a:gd name="T7" fmla="*/ 5 h 143"/>
                <a:gd name="T8" fmla="*/ 86 w 116"/>
                <a:gd name="T9" fmla="*/ 36 h 143"/>
                <a:gd name="T10" fmla="*/ 103 w 116"/>
                <a:gd name="T11" fmla="*/ 78 h 143"/>
                <a:gd name="T12" fmla="*/ 91 w 116"/>
                <a:gd name="T13" fmla="*/ 136 h 143"/>
                <a:gd name="T14" fmla="*/ 68 w 116"/>
                <a:gd name="T1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6" h="143">
                  <a:moveTo>
                    <a:pt x="68" y="143"/>
                  </a:moveTo>
                  <a:cubicBezTo>
                    <a:pt x="55" y="143"/>
                    <a:pt x="41" y="136"/>
                    <a:pt x="33" y="124"/>
                  </a:cubicBezTo>
                  <a:cubicBezTo>
                    <a:pt x="19" y="102"/>
                    <a:pt x="10" y="75"/>
                    <a:pt x="5" y="56"/>
                  </a:cubicBezTo>
                  <a:cubicBezTo>
                    <a:pt x="0" y="33"/>
                    <a:pt x="14" y="11"/>
                    <a:pt x="36" y="5"/>
                  </a:cubicBezTo>
                  <a:cubicBezTo>
                    <a:pt x="58" y="0"/>
                    <a:pt x="81" y="13"/>
                    <a:pt x="86" y="36"/>
                  </a:cubicBezTo>
                  <a:cubicBezTo>
                    <a:pt x="91" y="53"/>
                    <a:pt x="97" y="69"/>
                    <a:pt x="103" y="78"/>
                  </a:cubicBezTo>
                  <a:cubicBezTo>
                    <a:pt x="116" y="98"/>
                    <a:pt x="110" y="123"/>
                    <a:pt x="91" y="136"/>
                  </a:cubicBezTo>
                  <a:cubicBezTo>
                    <a:pt x="84" y="141"/>
                    <a:pt x="76" y="143"/>
                    <a:pt x="68" y="1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46">
                <a:defRPr/>
              </a:pPr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cxnSp>
        <p:nvCxnSpPr>
          <p:cNvPr id="10" name="Straight Connector 82">
            <a:extLst>
              <a:ext uri="{FF2B5EF4-FFF2-40B4-BE49-F238E27FC236}">
                <a16:creationId xmlns:a16="http://schemas.microsoft.com/office/drawing/2014/main" id="{F56E9E9A-13A5-EDF3-72B8-15F6D81E256E}"/>
              </a:ext>
            </a:extLst>
          </p:cNvPr>
          <p:cNvCxnSpPr>
            <a:cxnSpLocks/>
          </p:cNvCxnSpPr>
          <p:nvPr/>
        </p:nvCxnSpPr>
        <p:spPr>
          <a:xfrm flipH="1">
            <a:off x="558801" y="2935453"/>
            <a:ext cx="3593155" cy="0"/>
          </a:xfrm>
          <a:prstGeom prst="line">
            <a:avLst/>
          </a:prstGeom>
          <a:ln w="28575">
            <a:solidFill>
              <a:srgbClr val="0066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70">
            <a:extLst>
              <a:ext uri="{FF2B5EF4-FFF2-40B4-BE49-F238E27FC236}">
                <a16:creationId xmlns:a16="http://schemas.microsoft.com/office/drawing/2014/main" id="{9F31E992-6926-A87B-2D5E-037FD9B9A44B}"/>
              </a:ext>
            </a:extLst>
          </p:cNvPr>
          <p:cNvSpPr/>
          <p:nvPr/>
        </p:nvSpPr>
        <p:spPr>
          <a:xfrm>
            <a:off x="1530169" y="2473693"/>
            <a:ext cx="2756848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it-IT" sz="2400" dirty="0">
                <a:solidFill>
                  <a:srgbClr val="0066CC"/>
                </a:solidFill>
              </a:rPr>
              <a:t>Transizione 4.0</a:t>
            </a:r>
          </a:p>
        </p:txBody>
      </p:sp>
      <p:cxnSp>
        <p:nvCxnSpPr>
          <p:cNvPr id="13" name="Straight Connector 85">
            <a:extLst>
              <a:ext uri="{FF2B5EF4-FFF2-40B4-BE49-F238E27FC236}">
                <a16:creationId xmlns:a16="http://schemas.microsoft.com/office/drawing/2014/main" id="{E6679B9F-D373-9C7B-4495-CA2F610FDA19}"/>
              </a:ext>
            </a:extLst>
          </p:cNvPr>
          <p:cNvCxnSpPr>
            <a:cxnSpLocks/>
          </p:cNvCxnSpPr>
          <p:nvPr/>
        </p:nvCxnSpPr>
        <p:spPr>
          <a:xfrm flipH="1">
            <a:off x="8343221" y="2907429"/>
            <a:ext cx="3382243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86">
            <a:extLst>
              <a:ext uri="{FF2B5EF4-FFF2-40B4-BE49-F238E27FC236}">
                <a16:creationId xmlns:a16="http://schemas.microsoft.com/office/drawing/2014/main" id="{62268BBB-D00F-AE99-A432-BA52DAD6EA86}"/>
              </a:ext>
            </a:extLst>
          </p:cNvPr>
          <p:cNvSpPr/>
          <p:nvPr/>
        </p:nvSpPr>
        <p:spPr>
          <a:xfrm>
            <a:off x="8000882" y="2466022"/>
            <a:ext cx="2756848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it-IT" sz="2400" dirty="0">
                <a:solidFill>
                  <a:srgbClr val="00B050"/>
                </a:solidFill>
              </a:rPr>
              <a:t>Transizione 5.0</a:t>
            </a:r>
          </a:p>
        </p:txBody>
      </p: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04924EB1-8624-4DF0-AEFD-3ED68B7AD9AB}"/>
              </a:ext>
            </a:extLst>
          </p:cNvPr>
          <p:cNvGrpSpPr/>
          <p:nvPr/>
        </p:nvGrpSpPr>
        <p:grpSpPr>
          <a:xfrm>
            <a:off x="0" y="5969746"/>
            <a:ext cx="12192000" cy="900641"/>
            <a:chOff x="0" y="8954619"/>
            <a:chExt cx="18288000" cy="1350961"/>
          </a:xfrm>
        </p:grpSpPr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739C9031-3B85-9D0B-11A8-A1BBCAFD0FE6}"/>
                </a:ext>
              </a:extLst>
            </p:cNvPr>
            <p:cNvSpPr/>
            <p:nvPr/>
          </p:nvSpPr>
          <p:spPr>
            <a:xfrm>
              <a:off x="0" y="8954619"/>
              <a:ext cx="18288000" cy="1350961"/>
            </a:xfrm>
            <a:prstGeom prst="rect">
              <a:avLst/>
            </a:prstGeom>
            <a:solidFill>
              <a:srgbClr val="0066CC"/>
            </a:solidFill>
          </p:spPr>
          <p:txBody>
            <a:bodyPr/>
            <a:lstStyle/>
            <a:p>
              <a:endParaRPr lang="it-IT" sz="1200"/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102E71FB-7C14-B2A5-8F45-5302CFDB86EC}"/>
                </a:ext>
              </a:extLst>
            </p:cNvPr>
            <p:cNvSpPr/>
            <p:nvPr/>
          </p:nvSpPr>
          <p:spPr>
            <a:xfrm>
              <a:off x="1395421" y="9105860"/>
              <a:ext cx="3773510" cy="1058526"/>
            </a:xfrm>
            <a:custGeom>
              <a:avLst/>
              <a:gdLst/>
              <a:ahLst/>
              <a:cxnLst/>
              <a:rect l="l" t="t" r="r" b="b"/>
              <a:pathLst>
                <a:path w="3773510" h="1058526">
                  <a:moveTo>
                    <a:pt x="0" y="0"/>
                  </a:moveTo>
                  <a:lnTo>
                    <a:pt x="3773510" y="0"/>
                  </a:lnTo>
                  <a:lnTo>
                    <a:pt x="3773510" y="1058526"/>
                  </a:lnTo>
                  <a:lnTo>
                    <a:pt x="0" y="105852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5"/>
              <a:stretch>
                <a:fillRect/>
              </a:stretch>
            </a:blipFill>
          </p:spPr>
          <p:txBody>
            <a:bodyPr/>
            <a:lstStyle/>
            <a:p>
              <a:endParaRPr lang="it-IT" sz="1200"/>
            </a:p>
          </p:txBody>
        </p:sp>
      </p:grp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29776E15-4EDA-CDCC-347C-3920B898CD37}"/>
              </a:ext>
            </a:extLst>
          </p:cNvPr>
          <p:cNvSpPr txBox="1"/>
          <p:nvPr/>
        </p:nvSpPr>
        <p:spPr>
          <a:xfrm>
            <a:off x="5244352" y="3329616"/>
            <a:ext cx="21302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tx2">
                    <a:lumMod val="50000"/>
                  </a:schemeClr>
                </a:solidFill>
              </a:rPr>
              <a:t>€ 12,7 MLD</a:t>
            </a:r>
            <a:endParaRPr lang="it-IT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2" name="AI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B2F16AB-39FC-8C5E-4D66-A5BB90A5FA8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 flipH="1">
            <a:off x="643662" y="2267049"/>
            <a:ext cx="767337" cy="613455"/>
            <a:chOff x="3457576" y="4243388"/>
            <a:chExt cx="711200" cy="596900"/>
          </a:xfrm>
          <a:solidFill>
            <a:srgbClr val="9BBB59"/>
          </a:solidFill>
        </p:grpSpPr>
        <p:sp>
          <p:nvSpPr>
            <p:cNvPr id="3" name="Freeform 322">
              <a:extLst>
                <a:ext uri="{FF2B5EF4-FFF2-40B4-BE49-F238E27FC236}">
                  <a16:creationId xmlns:a16="http://schemas.microsoft.com/office/drawing/2014/main" id="{EEEAB506-7FD8-6427-D2DF-F671B9BE6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1" y="4243388"/>
              <a:ext cx="517525" cy="596900"/>
            </a:xfrm>
            <a:custGeom>
              <a:avLst/>
              <a:gdLst>
                <a:gd name="T0" fmla="*/ 57 w 378"/>
                <a:gd name="T1" fmla="*/ 436 h 436"/>
                <a:gd name="T2" fmla="*/ 41 w 378"/>
                <a:gd name="T3" fmla="*/ 432 h 436"/>
                <a:gd name="T4" fmla="*/ 52 w 378"/>
                <a:gd name="T5" fmla="*/ 391 h 436"/>
                <a:gd name="T6" fmla="*/ 65 w 378"/>
                <a:gd name="T7" fmla="*/ 314 h 436"/>
                <a:gd name="T8" fmla="*/ 61 w 378"/>
                <a:gd name="T9" fmla="*/ 310 h 436"/>
                <a:gd name="T10" fmla="*/ 15 w 378"/>
                <a:gd name="T11" fmla="*/ 239 h 436"/>
                <a:gd name="T12" fmla="*/ 6 w 378"/>
                <a:gd name="T13" fmla="*/ 143 h 436"/>
                <a:gd name="T14" fmla="*/ 170 w 378"/>
                <a:gd name="T15" fmla="*/ 0 h 436"/>
                <a:gd name="T16" fmla="*/ 307 w 378"/>
                <a:gd name="T17" fmla="*/ 72 h 436"/>
                <a:gd name="T18" fmla="*/ 330 w 378"/>
                <a:gd name="T19" fmla="*/ 162 h 436"/>
                <a:gd name="T20" fmla="*/ 368 w 378"/>
                <a:gd name="T21" fmla="*/ 233 h 436"/>
                <a:gd name="T22" fmla="*/ 373 w 378"/>
                <a:gd name="T23" fmla="*/ 262 h 436"/>
                <a:gd name="T24" fmla="*/ 356 w 378"/>
                <a:gd name="T25" fmla="*/ 276 h 436"/>
                <a:gd name="T26" fmla="*/ 336 w 378"/>
                <a:gd name="T27" fmla="*/ 282 h 436"/>
                <a:gd name="T28" fmla="*/ 316 w 378"/>
                <a:gd name="T29" fmla="*/ 308 h 436"/>
                <a:gd name="T30" fmla="*/ 309 w 378"/>
                <a:gd name="T31" fmla="*/ 351 h 436"/>
                <a:gd name="T32" fmla="*/ 309 w 378"/>
                <a:gd name="T33" fmla="*/ 357 h 436"/>
                <a:gd name="T34" fmla="*/ 282 w 378"/>
                <a:gd name="T35" fmla="*/ 384 h 436"/>
                <a:gd name="T36" fmla="*/ 226 w 378"/>
                <a:gd name="T37" fmla="*/ 384 h 436"/>
                <a:gd name="T38" fmla="*/ 213 w 378"/>
                <a:gd name="T39" fmla="*/ 436 h 436"/>
                <a:gd name="T40" fmla="*/ 197 w 378"/>
                <a:gd name="T41" fmla="*/ 432 h 436"/>
                <a:gd name="T42" fmla="*/ 213 w 378"/>
                <a:gd name="T43" fmla="*/ 367 h 436"/>
                <a:gd name="T44" fmla="*/ 282 w 378"/>
                <a:gd name="T45" fmla="*/ 367 h 436"/>
                <a:gd name="T46" fmla="*/ 292 w 378"/>
                <a:gd name="T47" fmla="*/ 357 h 436"/>
                <a:gd name="T48" fmla="*/ 292 w 378"/>
                <a:gd name="T49" fmla="*/ 349 h 436"/>
                <a:gd name="T50" fmla="*/ 300 w 378"/>
                <a:gd name="T51" fmla="*/ 305 h 436"/>
                <a:gd name="T52" fmla="*/ 332 w 378"/>
                <a:gd name="T53" fmla="*/ 265 h 436"/>
                <a:gd name="T54" fmla="*/ 352 w 378"/>
                <a:gd name="T55" fmla="*/ 260 h 436"/>
                <a:gd name="T56" fmla="*/ 358 w 378"/>
                <a:gd name="T57" fmla="*/ 255 h 436"/>
                <a:gd name="T58" fmla="*/ 356 w 378"/>
                <a:gd name="T59" fmla="*/ 245 h 436"/>
                <a:gd name="T60" fmla="*/ 314 w 378"/>
                <a:gd name="T61" fmla="*/ 160 h 436"/>
                <a:gd name="T62" fmla="*/ 293 w 378"/>
                <a:gd name="T63" fmla="*/ 81 h 436"/>
                <a:gd name="T64" fmla="*/ 170 w 378"/>
                <a:gd name="T65" fmla="*/ 16 h 436"/>
                <a:gd name="T66" fmla="*/ 23 w 378"/>
                <a:gd name="T67" fmla="*/ 145 h 436"/>
                <a:gd name="T68" fmla="*/ 30 w 378"/>
                <a:gd name="T69" fmla="*/ 232 h 436"/>
                <a:gd name="T70" fmla="*/ 73 w 378"/>
                <a:gd name="T71" fmla="*/ 299 h 436"/>
                <a:gd name="T72" fmla="*/ 83 w 378"/>
                <a:gd name="T73" fmla="*/ 309 h 436"/>
                <a:gd name="T74" fmla="*/ 68 w 378"/>
                <a:gd name="T75" fmla="*/ 395 h 436"/>
                <a:gd name="T76" fmla="*/ 57 w 378"/>
                <a:gd name="T77" fmla="*/ 436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78" h="436">
                  <a:moveTo>
                    <a:pt x="57" y="436"/>
                  </a:moveTo>
                  <a:lnTo>
                    <a:pt x="41" y="432"/>
                  </a:lnTo>
                  <a:lnTo>
                    <a:pt x="52" y="391"/>
                  </a:lnTo>
                  <a:lnTo>
                    <a:pt x="65" y="314"/>
                  </a:lnTo>
                  <a:lnTo>
                    <a:pt x="61" y="310"/>
                  </a:lnTo>
                  <a:cubicBezTo>
                    <a:pt x="45" y="293"/>
                    <a:pt x="30" y="277"/>
                    <a:pt x="15" y="239"/>
                  </a:cubicBezTo>
                  <a:cubicBezTo>
                    <a:pt x="0" y="203"/>
                    <a:pt x="6" y="145"/>
                    <a:pt x="6" y="143"/>
                  </a:cubicBezTo>
                  <a:cubicBezTo>
                    <a:pt x="17" y="61"/>
                    <a:pt x="88" y="0"/>
                    <a:pt x="170" y="0"/>
                  </a:cubicBezTo>
                  <a:cubicBezTo>
                    <a:pt x="225" y="0"/>
                    <a:pt x="276" y="27"/>
                    <a:pt x="307" y="72"/>
                  </a:cubicBezTo>
                  <a:cubicBezTo>
                    <a:pt x="308" y="74"/>
                    <a:pt x="335" y="117"/>
                    <a:pt x="330" y="162"/>
                  </a:cubicBezTo>
                  <a:cubicBezTo>
                    <a:pt x="327" y="190"/>
                    <a:pt x="356" y="221"/>
                    <a:pt x="368" y="233"/>
                  </a:cubicBezTo>
                  <a:cubicBezTo>
                    <a:pt x="376" y="241"/>
                    <a:pt x="378" y="253"/>
                    <a:pt x="373" y="262"/>
                  </a:cubicBezTo>
                  <a:cubicBezTo>
                    <a:pt x="370" y="269"/>
                    <a:pt x="364" y="274"/>
                    <a:pt x="356" y="276"/>
                  </a:cubicBezTo>
                  <a:lnTo>
                    <a:pt x="336" y="282"/>
                  </a:lnTo>
                  <a:cubicBezTo>
                    <a:pt x="335" y="282"/>
                    <a:pt x="320" y="285"/>
                    <a:pt x="316" y="308"/>
                  </a:cubicBezTo>
                  <a:lnTo>
                    <a:pt x="309" y="351"/>
                  </a:lnTo>
                  <a:lnTo>
                    <a:pt x="309" y="357"/>
                  </a:lnTo>
                  <a:cubicBezTo>
                    <a:pt x="309" y="372"/>
                    <a:pt x="297" y="384"/>
                    <a:pt x="282" y="384"/>
                  </a:cubicBezTo>
                  <a:lnTo>
                    <a:pt x="226" y="384"/>
                  </a:lnTo>
                  <a:lnTo>
                    <a:pt x="213" y="436"/>
                  </a:lnTo>
                  <a:lnTo>
                    <a:pt x="197" y="432"/>
                  </a:lnTo>
                  <a:lnTo>
                    <a:pt x="213" y="367"/>
                  </a:lnTo>
                  <a:lnTo>
                    <a:pt x="282" y="367"/>
                  </a:lnTo>
                  <a:cubicBezTo>
                    <a:pt x="288" y="367"/>
                    <a:pt x="292" y="362"/>
                    <a:pt x="292" y="357"/>
                  </a:cubicBezTo>
                  <a:lnTo>
                    <a:pt x="292" y="349"/>
                  </a:lnTo>
                  <a:lnTo>
                    <a:pt x="300" y="305"/>
                  </a:lnTo>
                  <a:cubicBezTo>
                    <a:pt x="305" y="271"/>
                    <a:pt x="331" y="266"/>
                    <a:pt x="332" y="265"/>
                  </a:cubicBezTo>
                  <a:lnTo>
                    <a:pt x="352" y="260"/>
                  </a:lnTo>
                  <a:cubicBezTo>
                    <a:pt x="355" y="259"/>
                    <a:pt x="357" y="258"/>
                    <a:pt x="358" y="255"/>
                  </a:cubicBezTo>
                  <a:cubicBezTo>
                    <a:pt x="360" y="252"/>
                    <a:pt x="359" y="248"/>
                    <a:pt x="356" y="245"/>
                  </a:cubicBezTo>
                  <a:cubicBezTo>
                    <a:pt x="339" y="228"/>
                    <a:pt x="310" y="194"/>
                    <a:pt x="314" y="160"/>
                  </a:cubicBezTo>
                  <a:cubicBezTo>
                    <a:pt x="317" y="121"/>
                    <a:pt x="293" y="82"/>
                    <a:pt x="293" y="81"/>
                  </a:cubicBezTo>
                  <a:cubicBezTo>
                    <a:pt x="265" y="41"/>
                    <a:pt x="219" y="16"/>
                    <a:pt x="170" y="16"/>
                  </a:cubicBezTo>
                  <a:cubicBezTo>
                    <a:pt x="96" y="16"/>
                    <a:pt x="33" y="72"/>
                    <a:pt x="23" y="145"/>
                  </a:cubicBezTo>
                  <a:cubicBezTo>
                    <a:pt x="23" y="145"/>
                    <a:pt x="17" y="201"/>
                    <a:pt x="30" y="232"/>
                  </a:cubicBezTo>
                  <a:cubicBezTo>
                    <a:pt x="45" y="268"/>
                    <a:pt x="58" y="282"/>
                    <a:pt x="73" y="299"/>
                  </a:cubicBezTo>
                  <a:lnTo>
                    <a:pt x="83" y="309"/>
                  </a:lnTo>
                  <a:lnTo>
                    <a:pt x="68" y="395"/>
                  </a:lnTo>
                  <a:lnTo>
                    <a:pt x="57" y="436"/>
                  </a:lnTo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 dirty="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4" name="Freeform 323">
              <a:extLst>
                <a:ext uri="{FF2B5EF4-FFF2-40B4-BE49-F238E27FC236}">
                  <a16:creationId xmlns:a16="http://schemas.microsoft.com/office/drawing/2014/main" id="{DE11D77C-BF24-8DC8-13E4-13191CD0FC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4438" y="4348163"/>
              <a:ext cx="71438" cy="69850"/>
            </a:xfrm>
            <a:custGeom>
              <a:avLst/>
              <a:gdLst>
                <a:gd name="T0" fmla="*/ 26 w 52"/>
                <a:gd name="T1" fmla="*/ 16 h 51"/>
                <a:gd name="T2" fmla="*/ 17 w 52"/>
                <a:gd name="T3" fmla="*/ 25 h 51"/>
                <a:gd name="T4" fmla="*/ 26 w 52"/>
                <a:gd name="T5" fmla="*/ 35 h 51"/>
                <a:gd name="T6" fmla="*/ 35 w 52"/>
                <a:gd name="T7" fmla="*/ 25 h 51"/>
                <a:gd name="T8" fmla="*/ 26 w 52"/>
                <a:gd name="T9" fmla="*/ 16 h 51"/>
                <a:gd name="T10" fmla="*/ 26 w 52"/>
                <a:gd name="T11" fmla="*/ 51 h 51"/>
                <a:gd name="T12" fmla="*/ 0 w 52"/>
                <a:gd name="T13" fmla="*/ 25 h 51"/>
                <a:gd name="T14" fmla="*/ 26 w 52"/>
                <a:gd name="T15" fmla="*/ 0 h 51"/>
                <a:gd name="T16" fmla="*/ 52 w 52"/>
                <a:gd name="T17" fmla="*/ 25 h 51"/>
                <a:gd name="T18" fmla="*/ 26 w 52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1">
                  <a:moveTo>
                    <a:pt x="26" y="16"/>
                  </a:moveTo>
                  <a:cubicBezTo>
                    <a:pt x="21" y="16"/>
                    <a:pt x="17" y="20"/>
                    <a:pt x="17" y="25"/>
                  </a:cubicBezTo>
                  <a:cubicBezTo>
                    <a:pt x="17" y="30"/>
                    <a:pt x="21" y="35"/>
                    <a:pt x="26" y="35"/>
                  </a:cubicBezTo>
                  <a:cubicBezTo>
                    <a:pt x="31" y="35"/>
                    <a:pt x="35" y="30"/>
                    <a:pt x="35" y="25"/>
                  </a:cubicBezTo>
                  <a:cubicBezTo>
                    <a:pt x="35" y="20"/>
                    <a:pt x="31" y="16"/>
                    <a:pt x="26" y="16"/>
                  </a:cubicBezTo>
                  <a:close/>
                  <a:moveTo>
                    <a:pt x="26" y="51"/>
                  </a:moveTo>
                  <a:cubicBezTo>
                    <a:pt x="12" y="51"/>
                    <a:pt x="0" y="40"/>
                    <a:pt x="0" y="25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40" y="0"/>
                    <a:pt x="52" y="11"/>
                    <a:pt x="52" y="25"/>
                  </a:cubicBezTo>
                  <a:cubicBezTo>
                    <a:pt x="52" y="40"/>
                    <a:pt x="40" y="51"/>
                    <a:pt x="26" y="51"/>
                  </a:cubicBez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5" name="Freeform 324">
              <a:extLst>
                <a:ext uri="{FF2B5EF4-FFF2-40B4-BE49-F238E27FC236}">
                  <a16:creationId xmlns:a16="http://schemas.microsoft.com/office/drawing/2014/main" id="{0F04000F-FCAE-B1DD-A61D-11230F57FD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7576" y="4400550"/>
              <a:ext cx="71438" cy="71438"/>
            </a:xfrm>
            <a:custGeom>
              <a:avLst/>
              <a:gdLst>
                <a:gd name="T0" fmla="*/ 26 w 52"/>
                <a:gd name="T1" fmla="*/ 17 h 52"/>
                <a:gd name="T2" fmla="*/ 17 w 52"/>
                <a:gd name="T3" fmla="*/ 26 h 52"/>
                <a:gd name="T4" fmla="*/ 26 w 52"/>
                <a:gd name="T5" fmla="*/ 35 h 52"/>
                <a:gd name="T6" fmla="*/ 35 w 52"/>
                <a:gd name="T7" fmla="*/ 26 h 52"/>
                <a:gd name="T8" fmla="*/ 26 w 52"/>
                <a:gd name="T9" fmla="*/ 17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17"/>
                  </a:moveTo>
                  <a:cubicBezTo>
                    <a:pt x="21" y="17"/>
                    <a:pt x="17" y="21"/>
                    <a:pt x="17" y="26"/>
                  </a:cubicBezTo>
                  <a:cubicBezTo>
                    <a:pt x="17" y="31"/>
                    <a:pt x="21" y="35"/>
                    <a:pt x="26" y="35"/>
                  </a:cubicBezTo>
                  <a:cubicBezTo>
                    <a:pt x="31" y="35"/>
                    <a:pt x="35" y="31"/>
                    <a:pt x="35" y="26"/>
                  </a:cubicBezTo>
                  <a:cubicBezTo>
                    <a:pt x="35" y="21"/>
                    <a:pt x="31" y="17"/>
                    <a:pt x="26" y="17"/>
                  </a:cubicBezTo>
                  <a:close/>
                  <a:moveTo>
                    <a:pt x="26" y="52"/>
                  </a:move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0"/>
                    <a:pt x="40" y="52"/>
                    <a:pt x="26" y="52"/>
                  </a:cubicBez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6" name="Freeform 325">
              <a:extLst>
                <a:ext uri="{FF2B5EF4-FFF2-40B4-BE49-F238E27FC236}">
                  <a16:creationId xmlns:a16="http://schemas.microsoft.com/office/drawing/2014/main" id="{0EAE22EF-063E-48EB-9BD8-B54FEDEE1A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6951" y="4281488"/>
              <a:ext cx="69850" cy="71438"/>
            </a:xfrm>
            <a:custGeom>
              <a:avLst/>
              <a:gdLst>
                <a:gd name="T0" fmla="*/ 25 w 51"/>
                <a:gd name="T1" fmla="*/ 17 h 52"/>
                <a:gd name="T2" fmla="*/ 16 w 51"/>
                <a:gd name="T3" fmla="*/ 26 h 52"/>
                <a:gd name="T4" fmla="*/ 25 w 51"/>
                <a:gd name="T5" fmla="*/ 35 h 52"/>
                <a:gd name="T6" fmla="*/ 35 w 51"/>
                <a:gd name="T7" fmla="*/ 26 h 52"/>
                <a:gd name="T8" fmla="*/ 25 w 51"/>
                <a:gd name="T9" fmla="*/ 17 h 52"/>
                <a:gd name="T10" fmla="*/ 25 w 51"/>
                <a:gd name="T11" fmla="*/ 52 h 52"/>
                <a:gd name="T12" fmla="*/ 0 w 51"/>
                <a:gd name="T13" fmla="*/ 26 h 52"/>
                <a:gd name="T14" fmla="*/ 25 w 51"/>
                <a:gd name="T15" fmla="*/ 0 h 52"/>
                <a:gd name="T16" fmla="*/ 51 w 51"/>
                <a:gd name="T17" fmla="*/ 26 h 52"/>
                <a:gd name="T18" fmla="*/ 25 w 51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2">
                  <a:moveTo>
                    <a:pt x="25" y="17"/>
                  </a:moveTo>
                  <a:cubicBezTo>
                    <a:pt x="20" y="17"/>
                    <a:pt x="16" y="21"/>
                    <a:pt x="16" y="26"/>
                  </a:cubicBezTo>
                  <a:cubicBezTo>
                    <a:pt x="16" y="31"/>
                    <a:pt x="20" y="35"/>
                    <a:pt x="25" y="35"/>
                  </a:cubicBezTo>
                  <a:cubicBezTo>
                    <a:pt x="30" y="35"/>
                    <a:pt x="35" y="31"/>
                    <a:pt x="35" y="26"/>
                  </a:cubicBezTo>
                  <a:cubicBezTo>
                    <a:pt x="35" y="21"/>
                    <a:pt x="30" y="17"/>
                    <a:pt x="25" y="17"/>
                  </a:cubicBezTo>
                  <a:close/>
                  <a:moveTo>
                    <a:pt x="25" y="52"/>
                  </a:move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40" y="0"/>
                    <a:pt x="51" y="12"/>
                    <a:pt x="51" y="26"/>
                  </a:cubicBezTo>
                  <a:cubicBezTo>
                    <a:pt x="51" y="40"/>
                    <a:pt x="40" y="52"/>
                    <a:pt x="25" y="52"/>
                  </a:cubicBez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7" name="Freeform 326">
              <a:extLst>
                <a:ext uri="{FF2B5EF4-FFF2-40B4-BE49-F238E27FC236}">
                  <a16:creationId xmlns:a16="http://schemas.microsoft.com/office/drawing/2014/main" id="{6ED2CCE0-5414-E667-93FE-9E01DBC04C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4413" y="4710113"/>
              <a:ext cx="69850" cy="69850"/>
            </a:xfrm>
            <a:custGeom>
              <a:avLst/>
              <a:gdLst>
                <a:gd name="T0" fmla="*/ 26 w 51"/>
                <a:gd name="T1" fmla="*/ 16 h 51"/>
                <a:gd name="T2" fmla="*/ 17 w 51"/>
                <a:gd name="T3" fmla="*/ 25 h 51"/>
                <a:gd name="T4" fmla="*/ 26 w 51"/>
                <a:gd name="T5" fmla="*/ 35 h 51"/>
                <a:gd name="T6" fmla="*/ 35 w 51"/>
                <a:gd name="T7" fmla="*/ 25 h 51"/>
                <a:gd name="T8" fmla="*/ 26 w 51"/>
                <a:gd name="T9" fmla="*/ 16 h 51"/>
                <a:gd name="T10" fmla="*/ 26 w 51"/>
                <a:gd name="T11" fmla="*/ 51 h 51"/>
                <a:gd name="T12" fmla="*/ 0 w 51"/>
                <a:gd name="T13" fmla="*/ 25 h 51"/>
                <a:gd name="T14" fmla="*/ 26 w 51"/>
                <a:gd name="T15" fmla="*/ 0 h 51"/>
                <a:gd name="T16" fmla="*/ 51 w 51"/>
                <a:gd name="T17" fmla="*/ 25 h 51"/>
                <a:gd name="T18" fmla="*/ 26 w 51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1">
                  <a:moveTo>
                    <a:pt x="26" y="16"/>
                  </a:moveTo>
                  <a:cubicBezTo>
                    <a:pt x="21" y="16"/>
                    <a:pt x="17" y="20"/>
                    <a:pt x="17" y="25"/>
                  </a:cubicBezTo>
                  <a:cubicBezTo>
                    <a:pt x="17" y="30"/>
                    <a:pt x="21" y="35"/>
                    <a:pt x="26" y="35"/>
                  </a:cubicBezTo>
                  <a:cubicBezTo>
                    <a:pt x="31" y="35"/>
                    <a:pt x="35" y="30"/>
                    <a:pt x="35" y="25"/>
                  </a:cubicBezTo>
                  <a:cubicBezTo>
                    <a:pt x="35" y="20"/>
                    <a:pt x="31" y="16"/>
                    <a:pt x="26" y="16"/>
                  </a:cubicBezTo>
                  <a:close/>
                  <a:moveTo>
                    <a:pt x="26" y="51"/>
                  </a:moveTo>
                  <a:cubicBezTo>
                    <a:pt x="11" y="51"/>
                    <a:pt x="0" y="40"/>
                    <a:pt x="0" y="25"/>
                  </a:cubicBezTo>
                  <a:cubicBezTo>
                    <a:pt x="0" y="11"/>
                    <a:pt x="11" y="0"/>
                    <a:pt x="26" y="0"/>
                  </a:cubicBezTo>
                  <a:cubicBezTo>
                    <a:pt x="40" y="0"/>
                    <a:pt x="51" y="11"/>
                    <a:pt x="51" y="25"/>
                  </a:cubicBezTo>
                  <a:cubicBezTo>
                    <a:pt x="51" y="40"/>
                    <a:pt x="40" y="51"/>
                    <a:pt x="26" y="51"/>
                  </a:cubicBez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8" name="Freeform 327">
              <a:extLst>
                <a:ext uri="{FF2B5EF4-FFF2-40B4-BE49-F238E27FC236}">
                  <a16:creationId xmlns:a16="http://schemas.microsoft.com/office/drawing/2014/main" id="{D5BCD97E-7487-0178-65A0-FD99C50A6B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3926" y="4591050"/>
              <a:ext cx="71438" cy="71438"/>
            </a:xfrm>
            <a:custGeom>
              <a:avLst/>
              <a:gdLst>
                <a:gd name="T0" fmla="*/ 26 w 52"/>
                <a:gd name="T1" fmla="*/ 17 h 52"/>
                <a:gd name="T2" fmla="*/ 17 w 52"/>
                <a:gd name="T3" fmla="*/ 26 h 52"/>
                <a:gd name="T4" fmla="*/ 26 w 52"/>
                <a:gd name="T5" fmla="*/ 35 h 52"/>
                <a:gd name="T6" fmla="*/ 35 w 52"/>
                <a:gd name="T7" fmla="*/ 26 h 52"/>
                <a:gd name="T8" fmla="*/ 26 w 52"/>
                <a:gd name="T9" fmla="*/ 17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17"/>
                  </a:moveTo>
                  <a:cubicBezTo>
                    <a:pt x="21" y="17"/>
                    <a:pt x="17" y="21"/>
                    <a:pt x="17" y="26"/>
                  </a:cubicBezTo>
                  <a:cubicBezTo>
                    <a:pt x="17" y="31"/>
                    <a:pt x="21" y="35"/>
                    <a:pt x="26" y="35"/>
                  </a:cubicBezTo>
                  <a:cubicBezTo>
                    <a:pt x="31" y="35"/>
                    <a:pt x="35" y="31"/>
                    <a:pt x="35" y="26"/>
                  </a:cubicBezTo>
                  <a:cubicBezTo>
                    <a:pt x="35" y="21"/>
                    <a:pt x="31" y="17"/>
                    <a:pt x="26" y="17"/>
                  </a:cubicBezTo>
                  <a:close/>
                  <a:moveTo>
                    <a:pt x="26" y="52"/>
                  </a:move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0"/>
                    <a:pt x="40" y="52"/>
                    <a:pt x="26" y="52"/>
                  </a:cubicBez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9" name="Freeform 328">
              <a:extLst>
                <a:ext uri="{FF2B5EF4-FFF2-40B4-BE49-F238E27FC236}">
                  <a16:creationId xmlns:a16="http://schemas.microsoft.com/office/drawing/2014/main" id="{78D43AA7-288B-CA26-5AAC-338A1314F6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2701" y="4454525"/>
              <a:ext cx="68263" cy="69850"/>
            </a:xfrm>
            <a:custGeom>
              <a:avLst/>
              <a:gdLst>
                <a:gd name="T0" fmla="*/ 26 w 51"/>
                <a:gd name="T1" fmla="*/ 16 h 51"/>
                <a:gd name="T2" fmla="*/ 17 w 51"/>
                <a:gd name="T3" fmla="*/ 25 h 51"/>
                <a:gd name="T4" fmla="*/ 26 w 51"/>
                <a:gd name="T5" fmla="*/ 35 h 51"/>
                <a:gd name="T6" fmla="*/ 35 w 51"/>
                <a:gd name="T7" fmla="*/ 25 h 51"/>
                <a:gd name="T8" fmla="*/ 26 w 51"/>
                <a:gd name="T9" fmla="*/ 16 h 51"/>
                <a:gd name="T10" fmla="*/ 26 w 51"/>
                <a:gd name="T11" fmla="*/ 51 h 51"/>
                <a:gd name="T12" fmla="*/ 0 w 51"/>
                <a:gd name="T13" fmla="*/ 25 h 51"/>
                <a:gd name="T14" fmla="*/ 26 w 51"/>
                <a:gd name="T15" fmla="*/ 0 h 51"/>
                <a:gd name="T16" fmla="*/ 51 w 51"/>
                <a:gd name="T17" fmla="*/ 25 h 51"/>
                <a:gd name="T18" fmla="*/ 26 w 51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1">
                  <a:moveTo>
                    <a:pt x="26" y="16"/>
                  </a:moveTo>
                  <a:cubicBezTo>
                    <a:pt x="21" y="16"/>
                    <a:pt x="17" y="20"/>
                    <a:pt x="17" y="25"/>
                  </a:cubicBezTo>
                  <a:cubicBezTo>
                    <a:pt x="17" y="30"/>
                    <a:pt x="21" y="35"/>
                    <a:pt x="26" y="35"/>
                  </a:cubicBezTo>
                  <a:cubicBezTo>
                    <a:pt x="31" y="35"/>
                    <a:pt x="35" y="30"/>
                    <a:pt x="35" y="25"/>
                  </a:cubicBezTo>
                  <a:cubicBezTo>
                    <a:pt x="35" y="20"/>
                    <a:pt x="31" y="16"/>
                    <a:pt x="26" y="16"/>
                  </a:cubicBezTo>
                  <a:close/>
                  <a:moveTo>
                    <a:pt x="26" y="51"/>
                  </a:moveTo>
                  <a:cubicBezTo>
                    <a:pt x="11" y="51"/>
                    <a:pt x="0" y="40"/>
                    <a:pt x="0" y="25"/>
                  </a:cubicBezTo>
                  <a:cubicBezTo>
                    <a:pt x="0" y="11"/>
                    <a:pt x="11" y="0"/>
                    <a:pt x="26" y="0"/>
                  </a:cubicBezTo>
                  <a:cubicBezTo>
                    <a:pt x="40" y="0"/>
                    <a:pt x="51" y="11"/>
                    <a:pt x="51" y="25"/>
                  </a:cubicBezTo>
                  <a:cubicBezTo>
                    <a:pt x="51" y="40"/>
                    <a:pt x="40" y="51"/>
                    <a:pt x="26" y="51"/>
                  </a:cubicBez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 dirty="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12" name="Freeform 329">
              <a:extLst>
                <a:ext uri="{FF2B5EF4-FFF2-40B4-BE49-F238E27FC236}">
                  <a16:creationId xmlns:a16="http://schemas.microsoft.com/office/drawing/2014/main" id="{CE23F4E8-E6C0-F550-1F62-831B41B21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226" y="4635500"/>
              <a:ext cx="71438" cy="69850"/>
            </a:xfrm>
            <a:custGeom>
              <a:avLst/>
              <a:gdLst>
                <a:gd name="T0" fmla="*/ 26 w 52"/>
                <a:gd name="T1" fmla="*/ 17 h 52"/>
                <a:gd name="T2" fmla="*/ 17 w 52"/>
                <a:gd name="T3" fmla="*/ 26 h 52"/>
                <a:gd name="T4" fmla="*/ 26 w 52"/>
                <a:gd name="T5" fmla="*/ 35 h 52"/>
                <a:gd name="T6" fmla="*/ 35 w 52"/>
                <a:gd name="T7" fmla="*/ 26 h 52"/>
                <a:gd name="T8" fmla="*/ 26 w 52"/>
                <a:gd name="T9" fmla="*/ 17 h 52"/>
                <a:gd name="T10" fmla="*/ 26 w 52"/>
                <a:gd name="T11" fmla="*/ 52 h 52"/>
                <a:gd name="T12" fmla="*/ 0 w 52"/>
                <a:gd name="T13" fmla="*/ 26 h 52"/>
                <a:gd name="T14" fmla="*/ 26 w 52"/>
                <a:gd name="T15" fmla="*/ 0 h 52"/>
                <a:gd name="T16" fmla="*/ 52 w 52"/>
                <a:gd name="T17" fmla="*/ 26 h 52"/>
                <a:gd name="T18" fmla="*/ 26 w 52"/>
                <a:gd name="T1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17"/>
                  </a:moveTo>
                  <a:cubicBezTo>
                    <a:pt x="21" y="17"/>
                    <a:pt x="17" y="21"/>
                    <a:pt x="17" y="26"/>
                  </a:cubicBezTo>
                  <a:cubicBezTo>
                    <a:pt x="17" y="31"/>
                    <a:pt x="21" y="35"/>
                    <a:pt x="26" y="35"/>
                  </a:cubicBezTo>
                  <a:cubicBezTo>
                    <a:pt x="31" y="35"/>
                    <a:pt x="35" y="31"/>
                    <a:pt x="35" y="26"/>
                  </a:cubicBezTo>
                  <a:cubicBezTo>
                    <a:pt x="35" y="21"/>
                    <a:pt x="31" y="17"/>
                    <a:pt x="26" y="17"/>
                  </a:cubicBezTo>
                  <a:close/>
                  <a:moveTo>
                    <a:pt x="26" y="52"/>
                  </a:moveTo>
                  <a:cubicBezTo>
                    <a:pt x="12" y="52"/>
                    <a:pt x="0" y="40"/>
                    <a:pt x="0" y="26"/>
                  </a:cubicBez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0"/>
                    <a:pt x="40" y="52"/>
                    <a:pt x="26" y="52"/>
                  </a:cubicBez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15" name="Freeform 330">
              <a:extLst>
                <a:ext uri="{FF2B5EF4-FFF2-40B4-BE49-F238E27FC236}">
                  <a16:creationId xmlns:a16="http://schemas.microsoft.com/office/drawing/2014/main" id="{ECA0537E-EC02-0B10-D822-6C34C6DEE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288" y="4319588"/>
              <a:ext cx="127000" cy="68263"/>
            </a:xfrm>
            <a:custGeom>
              <a:avLst/>
              <a:gdLst>
                <a:gd name="T0" fmla="*/ 80 w 80"/>
                <a:gd name="T1" fmla="*/ 43 h 43"/>
                <a:gd name="T2" fmla="*/ 33 w 80"/>
                <a:gd name="T3" fmla="*/ 43 h 43"/>
                <a:gd name="T4" fmla="*/ 0 w 80"/>
                <a:gd name="T5" fmla="*/ 10 h 43"/>
                <a:gd name="T6" fmla="*/ 10 w 80"/>
                <a:gd name="T7" fmla="*/ 0 h 43"/>
                <a:gd name="T8" fmla="*/ 39 w 80"/>
                <a:gd name="T9" fmla="*/ 29 h 43"/>
                <a:gd name="T10" fmla="*/ 80 w 80"/>
                <a:gd name="T11" fmla="*/ 29 h 43"/>
                <a:gd name="T12" fmla="*/ 80 w 80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3">
                  <a:moveTo>
                    <a:pt x="80" y="43"/>
                  </a:moveTo>
                  <a:lnTo>
                    <a:pt x="33" y="43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39" y="29"/>
                  </a:lnTo>
                  <a:lnTo>
                    <a:pt x="80" y="29"/>
                  </a:lnTo>
                  <a:lnTo>
                    <a:pt x="80" y="43"/>
                  </a:ln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16" name="Freeform 331">
              <a:extLst>
                <a:ext uri="{FF2B5EF4-FFF2-40B4-BE49-F238E27FC236}">
                  <a16:creationId xmlns:a16="http://schemas.microsoft.com/office/drawing/2014/main" id="{2292F4B9-BD3B-70D7-E871-C28641146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263" y="4435475"/>
              <a:ext cx="184150" cy="66675"/>
            </a:xfrm>
            <a:custGeom>
              <a:avLst/>
              <a:gdLst>
                <a:gd name="T0" fmla="*/ 116 w 116"/>
                <a:gd name="T1" fmla="*/ 42 h 42"/>
                <a:gd name="T2" fmla="*/ 31 w 116"/>
                <a:gd name="T3" fmla="*/ 42 h 42"/>
                <a:gd name="T4" fmla="*/ 0 w 116"/>
                <a:gd name="T5" fmla="*/ 10 h 42"/>
                <a:gd name="T6" fmla="*/ 9 w 116"/>
                <a:gd name="T7" fmla="*/ 0 h 42"/>
                <a:gd name="T8" fmla="*/ 37 w 116"/>
                <a:gd name="T9" fmla="*/ 27 h 42"/>
                <a:gd name="T10" fmla="*/ 116 w 116"/>
                <a:gd name="T11" fmla="*/ 27 h 42"/>
                <a:gd name="T12" fmla="*/ 116 w 116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42">
                  <a:moveTo>
                    <a:pt x="116" y="42"/>
                  </a:moveTo>
                  <a:lnTo>
                    <a:pt x="31" y="42"/>
                  </a:lnTo>
                  <a:lnTo>
                    <a:pt x="0" y="10"/>
                  </a:lnTo>
                  <a:lnTo>
                    <a:pt x="9" y="0"/>
                  </a:lnTo>
                  <a:lnTo>
                    <a:pt x="37" y="27"/>
                  </a:lnTo>
                  <a:lnTo>
                    <a:pt x="116" y="27"/>
                  </a:lnTo>
                  <a:lnTo>
                    <a:pt x="116" y="42"/>
                  </a:ln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17" name="Freeform 332">
              <a:extLst>
                <a:ext uri="{FF2B5EF4-FFF2-40B4-BE49-F238E27FC236}">
                  <a16:creationId xmlns:a16="http://schemas.microsoft.com/office/drawing/2014/main" id="{45A746A4-EF84-B4F9-F128-A1168C8D9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6788" y="4575175"/>
              <a:ext cx="190500" cy="52388"/>
            </a:xfrm>
            <a:custGeom>
              <a:avLst/>
              <a:gdLst>
                <a:gd name="T0" fmla="*/ 9 w 120"/>
                <a:gd name="T1" fmla="*/ 33 h 33"/>
                <a:gd name="T2" fmla="*/ 0 w 120"/>
                <a:gd name="T3" fmla="*/ 24 h 33"/>
                <a:gd name="T4" fmla="*/ 22 w 120"/>
                <a:gd name="T5" fmla="*/ 0 h 33"/>
                <a:gd name="T6" fmla="*/ 120 w 120"/>
                <a:gd name="T7" fmla="*/ 0 h 33"/>
                <a:gd name="T8" fmla="*/ 120 w 120"/>
                <a:gd name="T9" fmla="*/ 15 h 33"/>
                <a:gd name="T10" fmla="*/ 28 w 120"/>
                <a:gd name="T11" fmla="*/ 15 h 33"/>
                <a:gd name="T12" fmla="*/ 9 w 120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33">
                  <a:moveTo>
                    <a:pt x="9" y="33"/>
                  </a:moveTo>
                  <a:lnTo>
                    <a:pt x="0" y="24"/>
                  </a:lnTo>
                  <a:lnTo>
                    <a:pt x="22" y="0"/>
                  </a:lnTo>
                  <a:lnTo>
                    <a:pt x="120" y="0"/>
                  </a:lnTo>
                  <a:lnTo>
                    <a:pt x="120" y="15"/>
                  </a:lnTo>
                  <a:lnTo>
                    <a:pt x="28" y="15"/>
                  </a:lnTo>
                  <a:lnTo>
                    <a:pt x="9" y="33"/>
                  </a:ln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24" name="Freeform 333">
              <a:extLst>
                <a:ext uri="{FF2B5EF4-FFF2-40B4-BE49-F238E27FC236}">
                  <a16:creationId xmlns:a16="http://schemas.microsoft.com/office/drawing/2014/main" id="{70E344FD-77C7-6D2B-2007-2C570AD6C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6" y="4660900"/>
              <a:ext cx="166688" cy="84138"/>
            </a:xfrm>
            <a:custGeom>
              <a:avLst/>
              <a:gdLst>
                <a:gd name="T0" fmla="*/ 9 w 105"/>
                <a:gd name="T1" fmla="*/ 53 h 53"/>
                <a:gd name="T2" fmla="*/ 0 w 105"/>
                <a:gd name="T3" fmla="*/ 43 h 53"/>
                <a:gd name="T4" fmla="*/ 42 w 105"/>
                <a:gd name="T5" fmla="*/ 0 h 53"/>
                <a:gd name="T6" fmla="*/ 105 w 105"/>
                <a:gd name="T7" fmla="*/ 0 h 53"/>
                <a:gd name="T8" fmla="*/ 105 w 105"/>
                <a:gd name="T9" fmla="*/ 15 h 53"/>
                <a:gd name="T10" fmla="*/ 48 w 105"/>
                <a:gd name="T11" fmla="*/ 15 h 53"/>
                <a:gd name="T12" fmla="*/ 9 w 105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53">
                  <a:moveTo>
                    <a:pt x="9" y="53"/>
                  </a:moveTo>
                  <a:lnTo>
                    <a:pt x="0" y="43"/>
                  </a:lnTo>
                  <a:lnTo>
                    <a:pt x="42" y="0"/>
                  </a:lnTo>
                  <a:lnTo>
                    <a:pt x="105" y="0"/>
                  </a:lnTo>
                  <a:lnTo>
                    <a:pt x="105" y="15"/>
                  </a:lnTo>
                  <a:lnTo>
                    <a:pt x="48" y="15"/>
                  </a:lnTo>
                  <a:lnTo>
                    <a:pt x="9" y="53"/>
                  </a:ln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26" name="Freeform 334">
              <a:extLst>
                <a:ext uri="{FF2B5EF4-FFF2-40B4-BE49-F238E27FC236}">
                  <a16:creationId xmlns:a16="http://schemas.microsoft.com/office/drawing/2014/main" id="{DC350573-6F4C-C492-0BE7-F5D0CF40B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538" y="4383088"/>
              <a:ext cx="123825" cy="68263"/>
            </a:xfrm>
            <a:custGeom>
              <a:avLst/>
              <a:gdLst>
                <a:gd name="T0" fmla="*/ 44 w 78"/>
                <a:gd name="T1" fmla="*/ 43 h 43"/>
                <a:gd name="T2" fmla="*/ 0 w 78"/>
                <a:gd name="T3" fmla="*/ 43 h 43"/>
                <a:gd name="T4" fmla="*/ 0 w 78"/>
                <a:gd name="T5" fmla="*/ 29 h 43"/>
                <a:gd name="T6" fmla="*/ 38 w 78"/>
                <a:gd name="T7" fmla="*/ 29 h 43"/>
                <a:gd name="T8" fmla="*/ 68 w 78"/>
                <a:gd name="T9" fmla="*/ 0 h 43"/>
                <a:gd name="T10" fmla="*/ 78 w 78"/>
                <a:gd name="T11" fmla="*/ 10 h 43"/>
                <a:gd name="T12" fmla="*/ 44 w 78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43">
                  <a:moveTo>
                    <a:pt x="44" y="43"/>
                  </a:moveTo>
                  <a:lnTo>
                    <a:pt x="0" y="43"/>
                  </a:lnTo>
                  <a:lnTo>
                    <a:pt x="0" y="29"/>
                  </a:lnTo>
                  <a:lnTo>
                    <a:pt x="38" y="29"/>
                  </a:lnTo>
                  <a:lnTo>
                    <a:pt x="68" y="0"/>
                  </a:lnTo>
                  <a:lnTo>
                    <a:pt x="78" y="10"/>
                  </a:lnTo>
                  <a:lnTo>
                    <a:pt x="44" y="43"/>
                  </a:ln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27" name="Freeform 335">
              <a:extLst>
                <a:ext uri="{FF2B5EF4-FFF2-40B4-BE49-F238E27FC236}">
                  <a16:creationId xmlns:a16="http://schemas.microsoft.com/office/drawing/2014/main" id="{556D73D9-9B94-5F8F-E249-468A85CE8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538" y="4494213"/>
              <a:ext cx="192088" cy="57150"/>
            </a:xfrm>
            <a:custGeom>
              <a:avLst/>
              <a:gdLst>
                <a:gd name="T0" fmla="*/ 95 w 121"/>
                <a:gd name="T1" fmla="*/ 36 h 36"/>
                <a:gd name="T2" fmla="*/ 0 w 121"/>
                <a:gd name="T3" fmla="*/ 36 h 36"/>
                <a:gd name="T4" fmla="*/ 0 w 121"/>
                <a:gd name="T5" fmla="*/ 22 h 36"/>
                <a:gd name="T6" fmla="*/ 89 w 121"/>
                <a:gd name="T7" fmla="*/ 22 h 36"/>
                <a:gd name="T8" fmla="*/ 111 w 121"/>
                <a:gd name="T9" fmla="*/ 0 h 36"/>
                <a:gd name="T10" fmla="*/ 121 w 121"/>
                <a:gd name="T11" fmla="*/ 10 h 36"/>
                <a:gd name="T12" fmla="*/ 95 w 121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6">
                  <a:moveTo>
                    <a:pt x="95" y="36"/>
                  </a:moveTo>
                  <a:lnTo>
                    <a:pt x="0" y="36"/>
                  </a:lnTo>
                  <a:lnTo>
                    <a:pt x="0" y="22"/>
                  </a:lnTo>
                  <a:lnTo>
                    <a:pt x="89" y="22"/>
                  </a:lnTo>
                  <a:lnTo>
                    <a:pt x="111" y="0"/>
                  </a:lnTo>
                  <a:lnTo>
                    <a:pt x="121" y="10"/>
                  </a:lnTo>
                  <a:lnTo>
                    <a:pt x="95" y="36"/>
                  </a:ln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  <p:sp>
          <p:nvSpPr>
            <p:cNvPr id="28" name="Freeform 336">
              <a:extLst>
                <a:ext uri="{FF2B5EF4-FFF2-40B4-BE49-F238E27FC236}">
                  <a16:creationId xmlns:a16="http://schemas.microsoft.com/office/drawing/2014/main" id="{19234975-B873-31BC-80C6-C98C9FA4E1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5226" y="4611688"/>
              <a:ext cx="163513" cy="57150"/>
            </a:xfrm>
            <a:custGeom>
              <a:avLst/>
              <a:gdLst>
                <a:gd name="T0" fmla="*/ 93 w 103"/>
                <a:gd name="T1" fmla="*/ 36 h 36"/>
                <a:gd name="T2" fmla="*/ 72 w 103"/>
                <a:gd name="T3" fmla="*/ 14 h 36"/>
                <a:gd name="T4" fmla="*/ 0 w 103"/>
                <a:gd name="T5" fmla="*/ 14 h 36"/>
                <a:gd name="T6" fmla="*/ 0 w 103"/>
                <a:gd name="T7" fmla="*/ 0 h 36"/>
                <a:gd name="T8" fmla="*/ 78 w 103"/>
                <a:gd name="T9" fmla="*/ 0 h 36"/>
                <a:gd name="T10" fmla="*/ 103 w 103"/>
                <a:gd name="T11" fmla="*/ 26 h 36"/>
                <a:gd name="T12" fmla="*/ 93 w 103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36">
                  <a:moveTo>
                    <a:pt x="93" y="36"/>
                  </a:moveTo>
                  <a:lnTo>
                    <a:pt x="72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8" y="0"/>
                  </a:lnTo>
                  <a:lnTo>
                    <a:pt x="103" y="26"/>
                  </a:lnTo>
                  <a:lnTo>
                    <a:pt x="93" y="36"/>
                  </a:lnTo>
                  <a:close/>
                </a:path>
              </a:pathLst>
            </a:custGeom>
            <a:solidFill>
              <a:srgbClr val="006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0066CC"/>
                </a:solidFill>
                <a:latin typeface="Calibri" panose="020F0502020204030204"/>
              </a:endParaRPr>
            </a:p>
          </p:txBody>
        </p:sp>
      </p:grpSp>
      <p:grpSp>
        <p:nvGrpSpPr>
          <p:cNvPr id="29" name="Complexity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4CB56C2-6BFD-F8A8-D161-A2F719C2FD5E}"/>
              </a:ext>
            </a:extLst>
          </p:cNvPr>
          <p:cNvGrpSpPr>
            <a:grpSpLocks noChangeAspect="1"/>
          </p:cNvGrpSpPr>
          <p:nvPr/>
        </p:nvGrpSpPr>
        <p:grpSpPr>
          <a:xfrm>
            <a:off x="11002320" y="2181643"/>
            <a:ext cx="659409" cy="663382"/>
            <a:chOff x="5619751" y="2130425"/>
            <a:chExt cx="263525" cy="265113"/>
          </a:xfrm>
          <a:solidFill>
            <a:srgbClr val="00B050"/>
          </a:solidFill>
        </p:grpSpPr>
        <p:sp>
          <p:nvSpPr>
            <p:cNvPr id="30" name="Freeform 1484">
              <a:extLst>
                <a:ext uri="{FF2B5EF4-FFF2-40B4-BE49-F238E27FC236}">
                  <a16:creationId xmlns:a16="http://schemas.microsoft.com/office/drawing/2014/main" id="{C52AA312-416C-0CDF-54FF-3D9ADAF5D4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9751" y="2130425"/>
              <a:ext cx="263525" cy="265113"/>
            </a:xfrm>
            <a:custGeom>
              <a:avLst/>
              <a:gdLst>
                <a:gd name="T0" fmla="*/ 172 w 1284"/>
                <a:gd name="T1" fmla="*/ 204 h 1284"/>
                <a:gd name="T2" fmla="*/ 0 w 1284"/>
                <a:gd name="T3" fmla="*/ 376 h 1284"/>
                <a:gd name="T4" fmla="*/ 0 w 1284"/>
                <a:gd name="T5" fmla="*/ 908 h 1284"/>
                <a:gd name="T6" fmla="*/ 376 w 1284"/>
                <a:gd name="T7" fmla="*/ 1284 h 1284"/>
                <a:gd name="T8" fmla="*/ 908 w 1284"/>
                <a:gd name="T9" fmla="*/ 1284 h 1284"/>
                <a:gd name="T10" fmla="*/ 1042 w 1284"/>
                <a:gd name="T11" fmla="*/ 1150 h 1284"/>
                <a:gd name="T12" fmla="*/ 1018 w 1284"/>
                <a:gd name="T13" fmla="*/ 1127 h 1284"/>
                <a:gd name="T14" fmla="*/ 894 w 1284"/>
                <a:gd name="T15" fmla="*/ 1251 h 1284"/>
                <a:gd name="T16" fmla="*/ 390 w 1284"/>
                <a:gd name="T17" fmla="*/ 1251 h 1284"/>
                <a:gd name="T18" fmla="*/ 33 w 1284"/>
                <a:gd name="T19" fmla="*/ 894 h 1284"/>
                <a:gd name="T20" fmla="*/ 33 w 1284"/>
                <a:gd name="T21" fmla="*/ 390 h 1284"/>
                <a:gd name="T22" fmla="*/ 196 w 1284"/>
                <a:gd name="T23" fmla="*/ 228 h 1284"/>
                <a:gd name="T24" fmla="*/ 172 w 1284"/>
                <a:gd name="T25" fmla="*/ 204 h 1284"/>
                <a:gd name="T26" fmla="*/ 1165 w 1284"/>
                <a:gd name="T27" fmla="*/ 1027 h 1284"/>
                <a:gd name="T28" fmla="*/ 1284 w 1284"/>
                <a:gd name="T29" fmla="*/ 908 h 1284"/>
                <a:gd name="T30" fmla="*/ 1284 w 1284"/>
                <a:gd name="T31" fmla="*/ 376 h 1284"/>
                <a:gd name="T32" fmla="*/ 908 w 1284"/>
                <a:gd name="T33" fmla="*/ 0 h 1284"/>
                <a:gd name="T34" fmla="*/ 376 w 1284"/>
                <a:gd name="T35" fmla="*/ 0 h 1284"/>
                <a:gd name="T36" fmla="*/ 223 w 1284"/>
                <a:gd name="T37" fmla="*/ 154 h 1284"/>
                <a:gd name="T38" fmla="*/ 246 w 1284"/>
                <a:gd name="T39" fmla="*/ 177 h 1284"/>
                <a:gd name="T40" fmla="*/ 390 w 1284"/>
                <a:gd name="T41" fmla="*/ 34 h 1284"/>
                <a:gd name="T42" fmla="*/ 894 w 1284"/>
                <a:gd name="T43" fmla="*/ 34 h 1284"/>
                <a:gd name="T44" fmla="*/ 1251 w 1284"/>
                <a:gd name="T45" fmla="*/ 390 h 1284"/>
                <a:gd name="T46" fmla="*/ 1251 w 1284"/>
                <a:gd name="T47" fmla="*/ 894 h 1284"/>
                <a:gd name="T48" fmla="*/ 1141 w 1284"/>
                <a:gd name="T49" fmla="*/ 1004 h 1284"/>
                <a:gd name="T50" fmla="*/ 1165 w 1284"/>
                <a:gd name="T51" fmla="*/ 1027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4" h="1284">
                  <a:moveTo>
                    <a:pt x="172" y="204"/>
                  </a:moveTo>
                  <a:lnTo>
                    <a:pt x="0" y="376"/>
                  </a:lnTo>
                  <a:lnTo>
                    <a:pt x="0" y="908"/>
                  </a:lnTo>
                  <a:lnTo>
                    <a:pt x="376" y="1284"/>
                  </a:lnTo>
                  <a:lnTo>
                    <a:pt x="908" y="1284"/>
                  </a:lnTo>
                  <a:lnTo>
                    <a:pt x="1042" y="1150"/>
                  </a:lnTo>
                  <a:lnTo>
                    <a:pt x="1018" y="1127"/>
                  </a:lnTo>
                  <a:lnTo>
                    <a:pt x="894" y="1251"/>
                  </a:lnTo>
                  <a:lnTo>
                    <a:pt x="390" y="1251"/>
                  </a:lnTo>
                  <a:lnTo>
                    <a:pt x="33" y="894"/>
                  </a:lnTo>
                  <a:lnTo>
                    <a:pt x="33" y="390"/>
                  </a:lnTo>
                  <a:lnTo>
                    <a:pt x="196" y="228"/>
                  </a:lnTo>
                  <a:lnTo>
                    <a:pt x="172" y="204"/>
                  </a:lnTo>
                  <a:close/>
                  <a:moveTo>
                    <a:pt x="1165" y="1027"/>
                  </a:moveTo>
                  <a:lnTo>
                    <a:pt x="1284" y="908"/>
                  </a:lnTo>
                  <a:lnTo>
                    <a:pt x="1284" y="376"/>
                  </a:lnTo>
                  <a:lnTo>
                    <a:pt x="908" y="0"/>
                  </a:lnTo>
                  <a:lnTo>
                    <a:pt x="376" y="0"/>
                  </a:lnTo>
                  <a:lnTo>
                    <a:pt x="223" y="154"/>
                  </a:lnTo>
                  <a:lnTo>
                    <a:pt x="246" y="177"/>
                  </a:lnTo>
                  <a:lnTo>
                    <a:pt x="390" y="34"/>
                  </a:lnTo>
                  <a:lnTo>
                    <a:pt x="894" y="34"/>
                  </a:lnTo>
                  <a:lnTo>
                    <a:pt x="1251" y="390"/>
                  </a:lnTo>
                  <a:lnTo>
                    <a:pt x="1251" y="894"/>
                  </a:lnTo>
                  <a:lnTo>
                    <a:pt x="1141" y="1004"/>
                  </a:lnTo>
                  <a:lnTo>
                    <a:pt x="1165" y="10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1" name="Freeform 1485">
              <a:extLst>
                <a:ext uri="{FF2B5EF4-FFF2-40B4-BE49-F238E27FC236}">
                  <a16:creationId xmlns:a16="http://schemas.microsoft.com/office/drawing/2014/main" id="{E30A730E-93B5-952C-1409-4A4B95F9E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1" y="2168525"/>
              <a:ext cx="106363" cy="50800"/>
            </a:xfrm>
            <a:custGeom>
              <a:avLst/>
              <a:gdLst>
                <a:gd name="T0" fmla="*/ 8 w 522"/>
                <a:gd name="T1" fmla="*/ 47 h 251"/>
                <a:gd name="T2" fmla="*/ 119 w 522"/>
                <a:gd name="T3" fmla="*/ 33 h 251"/>
                <a:gd name="T4" fmla="*/ 493 w 522"/>
                <a:gd name="T5" fmla="*/ 251 h 251"/>
                <a:gd name="T6" fmla="*/ 522 w 522"/>
                <a:gd name="T7" fmla="*/ 235 h 251"/>
                <a:gd name="T8" fmla="*/ 119 w 522"/>
                <a:gd name="T9" fmla="*/ 0 h 251"/>
                <a:gd name="T10" fmla="*/ 0 w 522"/>
                <a:gd name="T11" fmla="*/ 15 h 251"/>
                <a:gd name="T12" fmla="*/ 8 w 522"/>
                <a:gd name="T13" fmla="*/ 4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2" h="251">
                  <a:moveTo>
                    <a:pt x="8" y="47"/>
                  </a:moveTo>
                  <a:cubicBezTo>
                    <a:pt x="44" y="38"/>
                    <a:pt x="81" y="33"/>
                    <a:pt x="119" y="33"/>
                  </a:cubicBezTo>
                  <a:cubicBezTo>
                    <a:pt x="280" y="33"/>
                    <a:pt x="419" y="121"/>
                    <a:pt x="493" y="251"/>
                  </a:cubicBezTo>
                  <a:lnTo>
                    <a:pt x="522" y="235"/>
                  </a:lnTo>
                  <a:cubicBezTo>
                    <a:pt x="443" y="94"/>
                    <a:pt x="292" y="0"/>
                    <a:pt x="119" y="0"/>
                  </a:cubicBezTo>
                  <a:cubicBezTo>
                    <a:pt x="78" y="0"/>
                    <a:pt x="38" y="5"/>
                    <a:pt x="0" y="15"/>
                  </a:cubicBezTo>
                  <a:lnTo>
                    <a:pt x="8" y="4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2" name="Freeform 1486">
              <a:extLst>
                <a:ext uri="{FF2B5EF4-FFF2-40B4-BE49-F238E27FC236}">
                  <a16:creationId xmlns:a16="http://schemas.microsoft.com/office/drawing/2014/main" id="{2AB3F2CF-9BB4-75EE-B959-F58101CC5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2179638"/>
              <a:ext cx="190500" cy="179388"/>
            </a:xfrm>
            <a:custGeom>
              <a:avLst/>
              <a:gdLst>
                <a:gd name="T0" fmla="*/ 877 w 926"/>
                <a:gd name="T1" fmla="*/ 290 h 866"/>
                <a:gd name="T2" fmla="*/ 892 w 926"/>
                <a:gd name="T3" fmla="*/ 403 h 866"/>
                <a:gd name="T4" fmla="*/ 767 w 926"/>
                <a:gd name="T5" fmla="*/ 707 h 866"/>
                <a:gd name="T6" fmla="*/ 463 w 926"/>
                <a:gd name="T7" fmla="*/ 833 h 866"/>
                <a:gd name="T8" fmla="*/ 160 w 926"/>
                <a:gd name="T9" fmla="*/ 707 h 866"/>
                <a:gd name="T10" fmla="*/ 34 w 926"/>
                <a:gd name="T11" fmla="*/ 403 h 866"/>
                <a:gd name="T12" fmla="*/ 253 w 926"/>
                <a:gd name="T13" fmla="*/ 29 h 866"/>
                <a:gd name="T14" fmla="*/ 236 w 926"/>
                <a:gd name="T15" fmla="*/ 0 h 866"/>
                <a:gd name="T16" fmla="*/ 0 w 926"/>
                <a:gd name="T17" fmla="*/ 403 h 866"/>
                <a:gd name="T18" fmla="*/ 463 w 926"/>
                <a:gd name="T19" fmla="*/ 866 h 866"/>
                <a:gd name="T20" fmla="*/ 926 w 926"/>
                <a:gd name="T21" fmla="*/ 403 h 866"/>
                <a:gd name="T22" fmla="*/ 909 w 926"/>
                <a:gd name="T23" fmla="*/ 281 h 866"/>
                <a:gd name="T24" fmla="*/ 877 w 926"/>
                <a:gd name="T25" fmla="*/ 290 h 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6" h="866">
                  <a:moveTo>
                    <a:pt x="877" y="290"/>
                  </a:moveTo>
                  <a:cubicBezTo>
                    <a:pt x="887" y="326"/>
                    <a:pt x="892" y="364"/>
                    <a:pt x="892" y="403"/>
                  </a:cubicBezTo>
                  <a:cubicBezTo>
                    <a:pt x="892" y="522"/>
                    <a:pt x="844" y="629"/>
                    <a:pt x="767" y="707"/>
                  </a:cubicBezTo>
                  <a:cubicBezTo>
                    <a:pt x="689" y="784"/>
                    <a:pt x="582" y="833"/>
                    <a:pt x="463" y="833"/>
                  </a:cubicBezTo>
                  <a:cubicBezTo>
                    <a:pt x="345" y="833"/>
                    <a:pt x="237" y="784"/>
                    <a:pt x="160" y="707"/>
                  </a:cubicBezTo>
                  <a:cubicBezTo>
                    <a:pt x="82" y="629"/>
                    <a:pt x="34" y="522"/>
                    <a:pt x="34" y="403"/>
                  </a:cubicBezTo>
                  <a:cubicBezTo>
                    <a:pt x="34" y="243"/>
                    <a:pt x="122" y="103"/>
                    <a:pt x="253" y="29"/>
                  </a:cubicBezTo>
                  <a:lnTo>
                    <a:pt x="236" y="0"/>
                  </a:lnTo>
                  <a:cubicBezTo>
                    <a:pt x="95" y="79"/>
                    <a:pt x="0" y="230"/>
                    <a:pt x="0" y="403"/>
                  </a:cubicBezTo>
                  <a:cubicBezTo>
                    <a:pt x="0" y="659"/>
                    <a:pt x="208" y="866"/>
                    <a:pt x="463" y="866"/>
                  </a:cubicBezTo>
                  <a:cubicBezTo>
                    <a:pt x="719" y="866"/>
                    <a:pt x="926" y="659"/>
                    <a:pt x="926" y="403"/>
                  </a:cubicBezTo>
                  <a:cubicBezTo>
                    <a:pt x="926" y="361"/>
                    <a:pt x="920" y="320"/>
                    <a:pt x="909" y="281"/>
                  </a:cubicBezTo>
                  <a:lnTo>
                    <a:pt x="877" y="2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3" name="Freeform 1487">
              <a:extLst>
                <a:ext uri="{FF2B5EF4-FFF2-40B4-BE49-F238E27FC236}">
                  <a16:creationId xmlns:a16="http://schemas.microsoft.com/office/drawing/2014/main" id="{5FF12720-A73A-EB16-36A5-FC4D939D3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913" y="2328863"/>
              <a:ext cx="31750" cy="63500"/>
            </a:xfrm>
            <a:custGeom>
              <a:avLst/>
              <a:gdLst>
                <a:gd name="T0" fmla="*/ 0 w 156"/>
                <a:gd name="T1" fmla="*/ 13 h 314"/>
                <a:gd name="T2" fmla="*/ 125 w 156"/>
                <a:gd name="T3" fmla="*/ 314 h 314"/>
                <a:gd name="T4" fmla="*/ 156 w 156"/>
                <a:gd name="T5" fmla="*/ 301 h 314"/>
                <a:gd name="T6" fmla="*/ 31 w 156"/>
                <a:gd name="T7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6" h="314">
                  <a:moveTo>
                    <a:pt x="0" y="13"/>
                  </a:moveTo>
                  <a:lnTo>
                    <a:pt x="125" y="314"/>
                  </a:lnTo>
                  <a:lnTo>
                    <a:pt x="156" y="301"/>
                  </a:lnTo>
                  <a:lnTo>
                    <a:pt x="31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4" name="Freeform 1488">
              <a:extLst>
                <a:ext uri="{FF2B5EF4-FFF2-40B4-BE49-F238E27FC236}">
                  <a16:creationId xmlns:a16="http://schemas.microsoft.com/office/drawing/2014/main" id="{0A08525A-0F24-ACDB-C429-50DE5FADE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2187575"/>
              <a:ext cx="55563" cy="120650"/>
            </a:xfrm>
            <a:custGeom>
              <a:avLst/>
              <a:gdLst>
                <a:gd name="T0" fmla="*/ 0 w 268"/>
                <a:gd name="T1" fmla="*/ 13 h 585"/>
                <a:gd name="T2" fmla="*/ 237 w 268"/>
                <a:gd name="T3" fmla="*/ 585 h 585"/>
                <a:gd name="T4" fmla="*/ 268 w 268"/>
                <a:gd name="T5" fmla="*/ 573 h 585"/>
                <a:gd name="T6" fmla="*/ 31 w 268"/>
                <a:gd name="T7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8" h="585">
                  <a:moveTo>
                    <a:pt x="0" y="13"/>
                  </a:moveTo>
                  <a:lnTo>
                    <a:pt x="237" y="585"/>
                  </a:lnTo>
                  <a:lnTo>
                    <a:pt x="268" y="573"/>
                  </a:lnTo>
                  <a:lnTo>
                    <a:pt x="31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5" name="Freeform 1489">
              <a:extLst>
                <a:ext uri="{FF2B5EF4-FFF2-40B4-BE49-F238E27FC236}">
                  <a16:creationId xmlns:a16="http://schemas.microsoft.com/office/drawing/2014/main" id="{2FC0C6B9-BE56-4782-8D14-49D39F962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63" y="2230438"/>
              <a:ext cx="131763" cy="58738"/>
            </a:xfrm>
            <a:custGeom>
              <a:avLst/>
              <a:gdLst>
                <a:gd name="T0" fmla="*/ 13 w 642"/>
                <a:gd name="T1" fmla="*/ 292 h 292"/>
                <a:gd name="T2" fmla="*/ 642 w 642"/>
                <a:gd name="T3" fmla="*/ 31 h 292"/>
                <a:gd name="T4" fmla="*/ 629 w 642"/>
                <a:gd name="T5" fmla="*/ 0 h 292"/>
                <a:gd name="T6" fmla="*/ 0 w 642"/>
                <a:gd name="T7" fmla="*/ 261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2" h="292">
                  <a:moveTo>
                    <a:pt x="13" y="292"/>
                  </a:moveTo>
                  <a:lnTo>
                    <a:pt x="642" y="31"/>
                  </a:lnTo>
                  <a:lnTo>
                    <a:pt x="629" y="0"/>
                  </a:lnTo>
                  <a:lnTo>
                    <a:pt x="0" y="26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6" name="Freeform 1490">
              <a:extLst>
                <a:ext uri="{FF2B5EF4-FFF2-40B4-BE49-F238E27FC236}">
                  <a16:creationId xmlns:a16="http://schemas.microsoft.com/office/drawing/2014/main" id="{FAD70572-8541-7F11-6662-7D40146E1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1338" y="2292350"/>
              <a:ext cx="52388" cy="26988"/>
            </a:xfrm>
            <a:custGeom>
              <a:avLst/>
              <a:gdLst>
                <a:gd name="T0" fmla="*/ 13 w 255"/>
                <a:gd name="T1" fmla="*/ 131 h 131"/>
                <a:gd name="T2" fmla="*/ 255 w 255"/>
                <a:gd name="T3" fmla="*/ 30 h 131"/>
                <a:gd name="T4" fmla="*/ 242 w 255"/>
                <a:gd name="T5" fmla="*/ 0 h 131"/>
                <a:gd name="T6" fmla="*/ 0 w 255"/>
                <a:gd name="T7" fmla="*/ 10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131">
                  <a:moveTo>
                    <a:pt x="13" y="131"/>
                  </a:moveTo>
                  <a:lnTo>
                    <a:pt x="255" y="30"/>
                  </a:lnTo>
                  <a:lnTo>
                    <a:pt x="242" y="0"/>
                  </a:lnTo>
                  <a:lnTo>
                    <a:pt x="0" y="10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7" name="Freeform 1491">
              <a:extLst>
                <a:ext uri="{FF2B5EF4-FFF2-40B4-BE49-F238E27FC236}">
                  <a16:creationId xmlns:a16="http://schemas.microsoft.com/office/drawing/2014/main" id="{96D2B6F9-7D87-BD6F-F4D9-AEEA36FF3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1338" y="2206625"/>
              <a:ext cx="77788" cy="76200"/>
            </a:xfrm>
            <a:custGeom>
              <a:avLst/>
              <a:gdLst>
                <a:gd name="T0" fmla="*/ 378 w 378"/>
                <a:gd name="T1" fmla="*/ 147 h 368"/>
                <a:gd name="T2" fmla="*/ 28 w 378"/>
                <a:gd name="T3" fmla="*/ 2 h 368"/>
                <a:gd name="T4" fmla="*/ 28 w 378"/>
                <a:gd name="T5" fmla="*/ 2 h 368"/>
                <a:gd name="T6" fmla="*/ 20 w 378"/>
                <a:gd name="T7" fmla="*/ 0 h 368"/>
                <a:gd name="T8" fmla="*/ 5 w 378"/>
                <a:gd name="T9" fmla="*/ 7 h 368"/>
                <a:gd name="T10" fmla="*/ 0 w 378"/>
                <a:gd name="T11" fmla="*/ 21 h 368"/>
                <a:gd name="T12" fmla="*/ 4 w 378"/>
                <a:gd name="T13" fmla="*/ 33 h 368"/>
                <a:gd name="T14" fmla="*/ 257 w 378"/>
                <a:gd name="T15" fmla="*/ 368 h 368"/>
                <a:gd name="T16" fmla="*/ 284 w 378"/>
                <a:gd name="T17" fmla="*/ 347 h 368"/>
                <a:gd name="T18" fmla="*/ 30 w 378"/>
                <a:gd name="T19" fmla="*/ 13 h 368"/>
                <a:gd name="T20" fmla="*/ 20 w 378"/>
                <a:gd name="T21" fmla="*/ 21 h 368"/>
                <a:gd name="T22" fmla="*/ 33 w 378"/>
                <a:gd name="T23" fmla="*/ 21 h 368"/>
                <a:gd name="T24" fmla="*/ 30 w 378"/>
                <a:gd name="T25" fmla="*/ 13 h 368"/>
                <a:gd name="T26" fmla="*/ 20 w 378"/>
                <a:gd name="T27" fmla="*/ 21 h 368"/>
                <a:gd name="T28" fmla="*/ 33 w 378"/>
                <a:gd name="T29" fmla="*/ 21 h 368"/>
                <a:gd name="T30" fmla="*/ 20 w 378"/>
                <a:gd name="T31" fmla="*/ 21 h 368"/>
                <a:gd name="T32" fmla="*/ 29 w 378"/>
                <a:gd name="T33" fmla="*/ 30 h 368"/>
                <a:gd name="T34" fmla="*/ 33 w 378"/>
                <a:gd name="T35" fmla="*/ 21 h 368"/>
                <a:gd name="T36" fmla="*/ 20 w 378"/>
                <a:gd name="T37" fmla="*/ 21 h 368"/>
                <a:gd name="T38" fmla="*/ 29 w 378"/>
                <a:gd name="T39" fmla="*/ 30 h 368"/>
                <a:gd name="T40" fmla="*/ 20 w 378"/>
                <a:gd name="T41" fmla="*/ 21 h 368"/>
                <a:gd name="T42" fmla="*/ 20 w 378"/>
                <a:gd name="T43" fmla="*/ 34 h 368"/>
                <a:gd name="T44" fmla="*/ 29 w 378"/>
                <a:gd name="T45" fmla="*/ 30 h 368"/>
                <a:gd name="T46" fmla="*/ 20 w 378"/>
                <a:gd name="T47" fmla="*/ 21 h 368"/>
                <a:gd name="T48" fmla="*/ 20 w 378"/>
                <a:gd name="T49" fmla="*/ 34 h 368"/>
                <a:gd name="T50" fmla="*/ 20 w 378"/>
                <a:gd name="T51" fmla="*/ 21 h 368"/>
                <a:gd name="T52" fmla="*/ 15 w 378"/>
                <a:gd name="T53" fmla="*/ 33 h 368"/>
                <a:gd name="T54" fmla="*/ 20 w 378"/>
                <a:gd name="T55" fmla="*/ 34 h 368"/>
                <a:gd name="T56" fmla="*/ 20 w 378"/>
                <a:gd name="T57" fmla="*/ 21 h 368"/>
                <a:gd name="T58" fmla="*/ 15 w 378"/>
                <a:gd name="T59" fmla="*/ 33 h 368"/>
                <a:gd name="T60" fmla="*/ 15 w 378"/>
                <a:gd name="T61" fmla="*/ 33 h 368"/>
                <a:gd name="T62" fmla="*/ 365 w 378"/>
                <a:gd name="T63" fmla="*/ 178 h 368"/>
                <a:gd name="T64" fmla="*/ 378 w 378"/>
                <a:gd name="T65" fmla="*/ 147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8" h="368">
                  <a:moveTo>
                    <a:pt x="378" y="147"/>
                  </a:moveTo>
                  <a:lnTo>
                    <a:pt x="28" y="2"/>
                  </a:lnTo>
                  <a:lnTo>
                    <a:pt x="28" y="2"/>
                  </a:lnTo>
                  <a:cubicBezTo>
                    <a:pt x="26" y="1"/>
                    <a:pt x="23" y="0"/>
                    <a:pt x="20" y="0"/>
                  </a:cubicBezTo>
                  <a:cubicBezTo>
                    <a:pt x="14" y="0"/>
                    <a:pt x="9" y="3"/>
                    <a:pt x="5" y="7"/>
                  </a:cubicBezTo>
                  <a:cubicBezTo>
                    <a:pt x="2" y="10"/>
                    <a:pt x="0" y="15"/>
                    <a:pt x="0" y="21"/>
                  </a:cubicBezTo>
                  <a:cubicBezTo>
                    <a:pt x="0" y="25"/>
                    <a:pt x="1" y="30"/>
                    <a:pt x="4" y="33"/>
                  </a:cubicBezTo>
                  <a:lnTo>
                    <a:pt x="257" y="368"/>
                  </a:lnTo>
                  <a:lnTo>
                    <a:pt x="284" y="347"/>
                  </a:lnTo>
                  <a:lnTo>
                    <a:pt x="30" y="13"/>
                  </a:lnTo>
                  <a:lnTo>
                    <a:pt x="20" y="21"/>
                  </a:lnTo>
                  <a:lnTo>
                    <a:pt x="33" y="21"/>
                  </a:lnTo>
                  <a:cubicBezTo>
                    <a:pt x="33" y="18"/>
                    <a:pt x="32" y="15"/>
                    <a:pt x="30" y="13"/>
                  </a:cubicBezTo>
                  <a:lnTo>
                    <a:pt x="20" y="21"/>
                  </a:lnTo>
                  <a:lnTo>
                    <a:pt x="33" y="21"/>
                  </a:lnTo>
                  <a:lnTo>
                    <a:pt x="20" y="21"/>
                  </a:lnTo>
                  <a:lnTo>
                    <a:pt x="29" y="30"/>
                  </a:lnTo>
                  <a:cubicBezTo>
                    <a:pt x="31" y="28"/>
                    <a:pt x="33" y="25"/>
                    <a:pt x="33" y="21"/>
                  </a:cubicBezTo>
                  <a:lnTo>
                    <a:pt x="20" y="21"/>
                  </a:lnTo>
                  <a:lnTo>
                    <a:pt x="29" y="30"/>
                  </a:lnTo>
                  <a:lnTo>
                    <a:pt x="20" y="21"/>
                  </a:lnTo>
                  <a:lnTo>
                    <a:pt x="20" y="34"/>
                  </a:lnTo>
                  <a:cubicBezTo>
                    <a:pt x="24" y="34"/>
                    <a:pt x="27" y="32"/>
                    <a:pt x="29" y="30"/>
                  </a:cubicBezTo>
                  <a:lnTo>
                    <a:pt x="20" y="21"/>
                  </a:lnTo>
                  <a:lnTo>
                    <a:pt x="20" y="34"/>
                  </a:lnTo>
                  <a:lnTo>
                    <a:pt x="20" y="21"/>
                  </a:lnTo>
                  <a:lnTo>
                    <a:pt x="15" y="33"/>
                  </a:lnTo>
                  <a:cubicBezTo>
                    <a:pt x="16" y="33"/>
                    <a:pt x="18" y="34"/>
                    <a:pt x="20" y="34"/>
                  </a:cubicBezTo>
                  <a:lnTo>
                    <a:pt x="20" y="2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365" y="178"/>
                  </a:lnTo>
                  <a:lnTo>
                    <a:pt x="378" y="1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8" name="Freeform 1492">
              <a:extLst>
                <a:ext uri="{FF2B5EF4-FFF2-40B4-BE49-F238E27FC236}">
                  <a16:creationId xmlns:a16="http://schemas.microsoft.com/office/drawing/2014/main" id="{DB70F15A-3F7B-24C9-087F-122CBF312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5326" y="2133600"/>
              <a:ext cx="33338" cy="61913"/>
            </a:xfrm>
            <a:custGeom>
              <a:avLst/>
              <a:gdLst>
                <a:gd name="T0" fmla="*/ 127 w 157"/>
                <a:gd name="T1" fmla="*/ 0 h 306"/>
                <a:gd name="T2" fmla="*/ 0 w 157"/>
                <a:gd name="T3" fmla="*/ 293 h 306"/>
                <a:gd name="T4" fmla="*/ 31 w 157"/>
                <a:gd name="T5" fmla="*/ 306 h 306"/>
                <a:gd name="T6" fmla="*/ 157 w 157"/>
                <a:gd name="T7" fmla="*/ 1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306">
                  <a:moveTo>
                    <a:pt x="127" y="0"/>
                  </a:moveTo>
                  <a:lnTo>
                    <a:pt x="0" y="293"/>
                  </a:lnTo>
                  <a:lnTo>
                    <a:pt x="31" y="306"/>
                  </a:lnTo>
                  <a:lnTo>
                    <a:pt x="157" y="1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39" name="Freeform 1493">
              <a:extLst>
                <a:ext uri="{FF2B5EF4-FFF2-40B4-BE49-F238E27FC236}">
                  <a16:creationId xmlns:a16="http://schemas.microsoft.com/office/drawing/2014/main" id="{7EADEAC0-B797-EFA7-B1AC-FF9F029AA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63" y="2274888"/>
              <a:ext cx="31750" cy="31750"/>
            </a:xfrm>
            <a:custGeom>
              <a:avLst/>
              <a:gdLst>
                <a:gd name="T0" fmla="*/ 140 w 157"/>
                <a:gd name="T1" fmla="*/ 78 h 157"/>
                <a:gd name="T2" fmla="*/ 123 w 157"/>
                <a:gd name="T3" fmla="*/ 78 h 157"/>
                <a:gd name="T4" fmla="*/ 78 w 157"/>
                <a:gd name="T5" fmla="*/ 123 h 157"/>
                <a:gd name="T6" fmla="*/ 34 w 157"/>
                <a:gd name="T7" fmla="*/ 78 h 157"/>
                <a:gd name="T8" fmla="*/ 78 w 157"/>
                <a:gd name="T9" fmla="*/ 34 h 157"/>
                <a:gd name="T10" fmla="*/ 123 w 157"/>
                <a:gd name="T11" fmla="*/ 78 h 157"/>
                <a:gd name="T12" fmla="*/ 140 w 157"/>
                <a:gd name="T13" fmla="*/ 78 h 157"/>
                <a:gd name="T14" fmla="*/ 157 w 157"/>
                <a:gd name="T15" fmla="*/ 78 h 157"/>
                <a:gd name="T16" fmla="*/ 78 w 157"/>
                <a:gd name="T17" fmla="*/ 0 h 157"/>
                <a:gd name="T18" fmla="*/ 0 w 157"/>
                <a:gd name="T19" fmla="*/ 78 h 157"/>
                <a:gd name="T20" fmla="*/ 78 w 157"/>
                <a:gd name="T21" fmla="*/ 157 h 157"/>
                <a:gd name="T22" fmla="*/ 157 w 157"/>
                <a:gd name="T23" fmla="*/ 78 h 157"/>
                <a:gd name="T24" fmla="*/ 140 w 157"/>
                <a:gd name="T25" fmla="*/ 7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7" h="157">
                  <a:moveTo>
                    <a:pt x="140" y="78"/>
                  </a:moveTo>
                  <a:lnTo>
                    <a:pt x="123" y="78"/>
                  </a:lnTo>
                  <a:cubicBezTo>
                    <a:pt x="123" y="103"/>
                    <a:pt x="103" y="123"/>
                    <a:pt x="78" y="123"/>
                  </a:cubicBezTo>
                  <a:cubicBezTo>
                    <a:pt x="54" y="123"/>
                    <a:pt x="34" y="103"/>
                    <a:pt x="34" y="78"/>
                  </a:cubicBezTo>
                  <a:cubicBezTo>
                    <a:pt x="34" y="54"/>
                    <a:pt x="54" y="34"/>
                    <a:pt x="78" y="34"/>
                  </a:cubicBezTo>
                  <a:cubicBezTo>
                    <a:pt x="103" y="34"/>
                    <a:pt x="123" y="54"/>
                    <a:pt x="123" y="78"/>
                  </a:cubicBezTo>
                  <a:lnTo>
                    <a:pt x="140" y="78"/>
                  </a:lnTo>
                  <a:lnTo>
                    <a:pt x="157" y="78"/>
                  </a:lnTo>
                  <a:cubicBezTo>
                    <a:pt x="157" y="35"/>
                    <a:pt x="122" y="0"/>
                    <a:pt x="78" y="0"/>
                  </a:cubicBezTo>
                  <a:cubicBezTo>
                    <a:pt x="35" y="0"/>
                    <a:pt x="0" y="35"/>
                    <a:pt x="0" y="78"/>
                  </a:cubicBezTo>
                  <a:cubicBezTo>
                    <a:pt x="0" y="122"/>
                    <a:pt x="35" y="157"/>
                    <a:pt x="78" y="157"/>
                  </a:cubicBezTo>
                  <a:cubicBezTo>
                    <a:pt x="122" y="157"/>
                    <a:pt x="157" y="122"/>
                    <a:pt x="157" y="78"/>
                  </a:cubicBezTo>
                  <a:lnTo>
                    <a:pt x="14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0" name="Freeform 1494">
              <a:extLst>
                <a:ext uri="{FF2B5EF4-FFF2-40B4-BE49-F238E27FC236}">
                  <a16:creationId xmlns:a16="http://schemas.microsoft.com/office/drawing/2014/main" id="{C2275C4E-C44E-E433-F685-D7AFE8244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451" y="2301875"/>
              <a:ext cx="31750" cy="31750"/>
            </a:xfrm>
            <a:custGeom>
              <a:avLst/>
              <a:gdLst>
                <a:gd name="T0" fmla="*/ 140 w 156"/>
                <a:gd name="T1" fmla="*/ 78 h 156"/>
                <a:gd name="T2" fmla="*/ 123 w 156"/>
                <a:gd name="T3" fmla="*/ 78 h 156"/>
                <a:gd name="T4" fmla="*/ 78 w 156"/>
                <a:gd name="T5" fmla="*/ 123 h 156"/>
                <a:gd name="T6" fmla="*/ 33 w 156"/>
                <a:gd name="T7" fmla="*/ 78 h 156"/>
                <a:gd name="T8" fmla="*/ 78 w 156"/>
                <a:gd name="T9" fmla="*/ 34 h 156"/>
                <a:gd name="T10" fmla="*/ 123 w 156"/>
                <a:gd name="T11" fmla="*/ 78 h 156"/>
                <a:gd name="T12" fmla="*/ 140 w 156"/>
                <a:gd name="T13" fmla="*/ 78 h 156"/>
                <a:gd name="T14" fmla="*/ 156 w 156"/>
                <a:gd name="T15" fmla="*/ 78 h 156"/>
                <a:gd name="T16" fmla="*/ 78 w 156"/>
                <a:gd name="T17" fmla="*/ 0 h 156"/>
                <a:gd name="T18" fmla="*/ 0 w 156"/>
                <a:gd name="T19" fmla="*/ 78 h 156"/>
                <a:gd name="T20" fmla="*/ 78 w 156"/>
                <a:gd name="T21" fmla="*/ 156 h 156"/>
                <a:gd name="T22" fmla="*/ 156 w 156"/>
                <a:gd name="T23" fmla="*/ 78 h 156"/>
                <a:gd name="T24" fmla="*/ 140 w 156"/>
                <a:gd name="T25" fmla="*/ 7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156">
                  <a:moveTo>
                    <a:pt x="140" y="78"/>
                  </a:moveTo>
                  <a:lnTo>
                    <a:pt x="123" y="78"/>
                  </a:lnTo>
                  <a:cubicBezTo>
                    <a:pt x="123" y="103"/>
                    <a:pt x="103" y="123"/>
                    <a:pt x="78" y="123"/>
                  </a:cubicBezTo>
                  <a:cubicBezTo>
                    <a:pt x="53" y="123"/>
                    <a:pt x="33" y="103"/>
                    <a:pt x="33" y="78"/>
                  </a:cubicBezTo>
                  <a:cubicBezTo>
                    <a:pt x="33" y="54"/>
                    <a:pt x="53" y="34"/>
                    <a:pt x="78" y="34"/>
                  </a:cubicBezTo>
                  <a:cubicBezTo>
                    <a:pt x="103" y="34"/>
                    <a:pt x="123" y="54"/>
                    <a:pt x="123" y="78"/>
                  </a:cubicBezTo>
                  <a:lnTo>
                    <a:pt x="140" y="78"/>
                  </a:lnTo>
                  <a:lnTo>
                    <a:pt x="156" y="78"/>
                  </a:lnTo>
                  <a:cubicBezTo>
                    <a:pt x="156" y="35"/>
                    <a:pt x="121" y="0"/>
                    <a:pt x="78" y="0"/>
                  </a:cubicBezTo>
                  <a:cubicBezTo>
                    <a:pt x="35" y="0"/>
                    <a:pt x="0" y="35"/>
                    <a:pt x="0" y="78"/>
                  </a:cubicBezTo>
                  <a:cubicBezTo>
                    <a:pt x="0" y="121"/>
                    <a:pt x="35" y="156"/>
                    <a:pt x="78" y="156"/>
                  </a:cubicBezTo>
                  <a:cubicBezTo>
                    <a:pt x="121" y="156"/>
                    <a:pt x="156" y="121"/>
                    <a:pt x="156" y="78"/>
                  </a:cubicBezTo>
                  <a:lnTo>
                    <a:pt x="14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1" name="Freeform 1495">
              <a:extLst>
                <a:ext uri="{FF2B5EF4-FFF2-40B4-BE49-F238E27FC236}">
                  <a16:creationId xmlns:a16="http://schemas.microsoft.com/office/drawing/2014/main" id="{BC1F1F70-BBAD-4644-5AE5-82209228B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2776" y="2228850"/>
              <a:ext cx="33338" cy="33338"/>
            </a:xfrm>
            <a:custGeom>
              <a:avLst/>
              <a:gdLst>
                <a:gd name="T0" fmla="*/ 140 w 157"/>
                <a:gd name="T1" fmla="*/ 78 h 156"/>
                <a:gd name="T2" fmla="*/ 123 w 157"/>
                <a:gd name="T3" fmla="*/ 78 h 156"/>
                <a:gd name="T4" fmla="*/ 78 w 157"/>
                <a:gd name="T5" fmla="*/ 123 h 156"/>
                <a:gd name="T6" fmla="*/ 34 w 157"/>
                <a:gd name="T7" fmla="*/ 78 h 156"/>
                <a:gd name="T8" fmla="*/ 78 w 157"/>
                <a:gd name="T9" fmla="*/ 33 h 156"/>
                <a:gd name="T10" fmla="*/ 123 w 157"/>
                <a:gd name="T11" fmla="*/ 78 h 156"/>
                <a:gd name="T12" fmla="*/ 140 w 157"/>
                <a:gd name="T13" fmla="*/ 78 h 156"/>
                <a:gd name="T14" fmla="*/ 157 w 157"/>
                <a:gd name="T15" fmla="*/ 78 h 156"/>
                <a:gd name="T16" fmla="*/ 78 w 157"/>
                <a:gd name="T17" fmla="*/ 0 h 156"/>
                <a:gd name="T18" fmla="*/ 0 w 157"/>
                <a:gd name="T19" fmla="*/ 78 h 156"/>
                <a:gd name="T20" fmla="*/ 78 w 157"/>
                <a:gd name="T21" fmla="*/ 156 h 156"/>
                <a:gd name="T22" fmla="*/ 157 w 157"/>
                <a:gd name="T23" fmla="*/ 78 h 156"/>
                <a:gd name="T24" fmla="*/ 140 w 157"/>
                <a:gd name="T25" fmla="*/ 7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7" h="156">
                  <a:moveTo>
                    <a:pt x="140" y="78"/>
                  </a:moveTo>
                  <a:lnTo>
                    <a:pt x="123" y="78"/>
                  </a:lnTo>
                  <a:cubicBezTo>
                    <a:pt x="123" y="103"/>
                    <a:pt x="103" y="123"/>
                    <a:pt x="78" y="123"/>
                  </a:cubicBezTo>
                  <a:cubicBezTo>
                    <a:pt x="54" y="123"/>
                    <a:pt x="34" y="103"/>
                    <a:pt x="34" y="78"/>
                  </a:cubicBezTo>
                  <a:cubicBezTo>
                    <a:pt x="34" y="53"/>
                    <a:pt x="54" y="33"/>
                    <a:pt x="78" y="33"/>
                  </a:cubicBezTo>
                  <a:cubicBezTo>
                    <a:pt x="103" y="33"/>
                    <a:pt x="123" y="53"/>
                    <a:pt x="123" y="78"/>
                  </a:cubicBezTo>
                  <a:lnTo>
                    <a:pt x="140" y="78"/>
                  </a:lnTo>
                  <a:lnTo>
                    <a:pt x="157" y="78"/>
                  </a:lnTo>
                  <a:cubicBezTo>
                    <a:pt x="157" y="35"/>
                    <a:pt x="122" y="0"/>
                    <a:pt x="78" y="0"/>
                  </a:cubicBezTo>
                  <a:cubicBezTo>
                    <a:pt x="35" y="0"/>
                    <a:pt x="0" y="35"/>
                    <a:pt x="0" y="78"/>
                  </a:cubicBezTo>
                  <a:cubicBezTo>
                    <a:pt x="0" y="121"/>
                    <a:pt x="35" y="156"/>
                    <a:pt x="78" y="156"/>
                  </a:cubicBezTo>
                  <a:cubicBezTo>
                    <a:pt x="122" y="156"/>
                    <a:pt x="157" y="121"/>
                    <a:pt x="157" y="78"/>
                  </a:cubicBezTo>
                  <a:lnTo>
                    <a:pt x="14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3" name="Freeform 1496">
              <a:extLst>
                <a:ext uri="{FF2B5EF4-FFF2-40B4-BE49-F238E27FC236}">
                  <a16:creationId xmlns:a16="http://schemas.microsoft.com/office/drawing/2014/main" id="{84526E51-D3B8-F2AB-9CA1-3DFF6B03E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1363" y="2211388"/>
              <a:ext cx="31750" cy="33338"/>
            </a:xfrm>
            <a:custGeom>
              <a:avLst/>
              <a:gdLst>
                <a:gd name="T0" fmla="*/ 140 w 156"/>
                <a:gd name="T1" fmla="*/ 78 h 156"/>
                <a:gd name="T2" fmla="*/ 123 w 156"/>
                <a:gd name="T3" fmla="*/ 78 h 156"/>
                <a:gd name="T4" fmla="*/ 78 w 156"/>
                <a:gd name="T5" fmla="*/ 123 h 156"/>
                <a:gd name="T6" fmla="*/ 34 w 156"/>
                <a:gd name="T7" fmla="*/ 78 h 156"/>
                <a:gd name="T8" fmla="*/ 78 w 156"/>
                <a:gd name="T9" fmla="*/ 33 h 156"/>
                <a:gd name="T10" fmla="*/ 123 w 156"/>
                <a:gd name="T11" fmla="*/ 78 h 156"/>
                <a:gd name="T12" fmla="*/ 140 w 156"/>
                <a:gd name="T13" fmla="*/ 78 h 156"/>
                <a:gd name="T14" fmla="*/ 156 w 156"/>
                <a:gd name="T15" fmla="*/ 78 h 156"/>
                <a:gd name="T16" fmla="*/ 78 w 156"/>
                <a:gd name="T17" fmla="*/ 0 h 156"/>
                <a:gd name="T18" fmla="*/ 0 w 156"/>
                <a:gd name="T19" fmla="*/ 78 h 156"/>
                <a:gd name="T20" fmla="*/ 78 w 156"/>
                <a:gd name="T21" fmla="*/ 156 h 156"/>
                <a:gd name="T22" fmla="*/ 156 w 156"/>
                <a:gd name="T23" fmla="*/ 78 h 156"/>
                <a:gd name="T24" fmla="*/ 140 w 156"/>
                <a:gd name="T25" fmla="*/ 7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156">
                  <a:moveTo>
                    <a:pt x="140" y="78"/>
                  </a:moveTo>
                  <a:lnTo>
                    <a:pt x="123" y="78"/>
                  </a:lnTo>
                  <a:cubicBezTo>
                    <a:pt x="123" y="103"/>
                    <a:pt x="103" y="123"/>
                    <a:pt x="78" y="123"/>
                  </a:cubicBezTo>
                  <a:cubicBezTo>
                    <a:pt x="54" y="123"/>
                    <a:pt x="34" y="103"/>
                    <a:pt x="34" y="78"/>
                  </a:cubicBezTo>
                  <a:cubicBezTo>
                    <a:pt x="34" y="53"/>
                    <a:pt x="54" y="33"/>
                    <a:pt x="78" y="33"/>
                  </a:cubicBezTo>
                  <a:cubicBezTo>
                    <a:pt x="103" y="33"/>
                    <a:pt x="123" y="53"/>
                    <a:pt x="123" y="78"/>
                  </a:cubicBezTo>
                  <a:lnTo>
                    <a:pt x="140" y="78"/>
                  </a:lnTo>
                  <a:lnTo>
                    <a:pt x="156" y="78"/>
                  </a:lnTo>
                  <a:cubicBezTo>
                    <a:pt x="156" y="35"/>
                    <a:pt x="121" y="0"/>
                    <a:pt x="78" y="0"/>
                  </a:cubicBezTo>
                  <a:cubicBezTo>
                    <a:pt x="35" y="0"/>
                    <a:pt x="0" y="35"/>
                    <a:pt x="0" y="78"/>
                  </a:cubicBezTo>
                  <a:cubicBezTo>
                    <a:pt x="0" y="121"/>
                    <a:pt x="35" y="156"/>
                    <a:pt x="78" y="156"/>
                  </a:cubicBezTo>
                  <a:cubicBezTo>
                    <a:pt x="121" y="156"/>
                    <a:pt x="156" y="121"/>
                    <a:pt x="156" y="78"/>
                  </a:cubicBezTo>
                  <a:lnTo>
                    <a:pt x="14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4" name="Freeform 1497">
              <a:extLst>
                <a:ext uri="{FF2B5EF4-FFF2-40B4-BE49-F238E27FC236}">
                  <a16:creationId xmlns:a16="http://schemas.microsoft.com/office/drawing/2014/main" id="{962884B6-5F11-5A2D-807C-7483344FD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713" y="2162175"/>
              <a:ext cx="31750" cy="31750"/>
            </a:xfrm>
            <a:custGeom>
              <a:avLst/>
              <a:gdLst>
                <a:gd name="T0" fmla="*/ 140 w 157"/>
                <a:gd name="T1" fmla="*/ 78 h 156"/>
                <a:gd name="T2" fmla="*/ 123 w 157"/>
                <a:gd name="T3" fmla="*/ 78 h 156"/>
                <a:gd name="T4" fmla="*/ 78 w 157"/>
                <a:gd name="T5" fmla="*/ 123 h 156"/>
                <a:gd name="T6" fmla="*/ 34 w 157"/>
                <a:gd name="T7" fmla="*/ 78 h 156"/>
                <a:gd name="T8" fmla="*/ 78 w 157"/>
                <a:gd name="T9" fmla="*/ 33 h 156"/>
                <a:gd name="T10" fmla="*/ 123 w 157"/>
                <a:gd name="T11" fmla="*/ 78 h 156"/>
                <a:gd name="T12" fmla="*/ 140 w 157"/>
                <a:gd name="T13" fmla="*/ 78 h 156"/>
                <a:gd name="T14" fmla="*/ 157 w 157"/>
                <a:gd name="T15" fmla="*/ 78 h 156"/>
                <a:gd name="T16" fmla="*/ 78 w 157"/>
                <a:gd name="T17" fmla="*/ 0 h 156"/>
                <a:gd name="T18" fmla="*/ 0 w 157"/>
                <a:gd name="T19" fmla="*/ 78 h 156"/>
                <a:gd name="T20" fmla="*/ 78 w 157"/>
                <a:gd name="T21" fmla="*/ 156 h 156"/>
                <a:gd name="T22" fmla="*/ 157 w 157"/>
                <a:gd name="T23" fmla="*/ 78 h 156"/>
                <a:gd name="T24" fmla="*/ 140 w 157"/>
                <a:gd name="T25" fmla="*/ 7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7" h="156">
                  <a:moveTo>
                    <a:pt x="140" y="78"/>
                  </a:moveTo>
                  <a:lnTo>
                    <a:pt x="123" y="78"/>
                  </a:lnTo>
                  <a:cubicBezTo>
                    <a:pt x="123" y="103"/>
                    <a:pt x="103" y="123"/>
                    <a:pt x="78" y="123"/>
                  </a:cubicBezTo>
                  <a:cubicBezTo>
                    <a:pt x="54" y="123"/>
                    <a:pt x="34" y="103"/>
                    <a:pt x="34" y="78"/>
                  </a:cubicBezTo>
                  <a:cubicBezTo>
                    <a:pt x="34" y="53"/>
                    <a:pt x="54" y="33"/>
                    <a:pt x="78" y="33"/>
                  </a:cubicBezTo>
                  <a:cubicBezTo>
                    <a:pt x="103" y="33"/>
                    <a:pt x="123" y="53"/>
                    <a:pt x="123" y="78"/>
                  </a:cubicBezTo>
                  <a:lnTo>
                    <a:pt x="140" y="78"/>
                  </a:lnTo>
                  <a:lnTo>
                    <a:pt x="157" y="78"/>
                  </a:lnTo>
                  <a:cubicBezTo>
                    <a:pt x="156" y="35"/>
                    <a:pt x="122" y="0"/>
                    <a:pt x="78" y="0"/>
                  </a:cubicBezTo>
                  <a:cubicBezTo>
                    <a:pt x="35" y="0"/>
                    <a:pt x="0" y="35"/>
                    <a:pt x="0" y="78"/>
                  </a:cubicBezTo>
                  <a:cubicBezTo>
                    <a:pt x="0" y="121"/>
                    <a:pt x="35" y="156"/>
                    <a:pt x="78" y="156"/>
                  </a:cubicBezTo>
                  <a:cubicBezTo>
                    <a:pt x="122" y="156"/>
                    <a:pt x="156" y="121"/>
                    <a:pt x="157" y="78"/>
                  </a:cubicBezTo>
                  <a:lnTo>
                    <a:pt x="140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5" name="Freeform 1498">
              <a:extLst>
                <a:ext uri="{FF2B5EF4-FFF2-40B4-BE49-F238E27FC236}">
                  <a16:creationId xmlns:a16="http://schemas.microsoft.com/office/drawing/2014/main" id="{3397CF52-C087-D689-DD58-B0B665F3E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451" y="2189163"/>
              <a:ext cx="30163" cy="30163"/>
            </a:xfrm>
            <a:custGeom>
              <a:avLst/>
              <a:gdLst>
                <a:gd name="T0" fmla="*/ 130 w 146"/>
                <a:gd name="T1" fmla="*/ 73 h 147"/>
                <a:gd name="T2" fmla="*/ 113 w 146"/>
                <a:gd name="T3" fmla="*/ 73 h 147"/>
                <a:gd name="T4" fmla="*/ 73 w 146"/>
                <a:gd name="T5" fmla="*/ 113 h 147"/>
                <a:gd name="T6" fmla="*/ 33 w 146"/>
                <a:gd name="T7" fmla="*/ 73 h 147"/>
                <a:gd name="T8" fmla="*/ 73 w 146"/>
                <a:gd name="T9" fmla="*/ 34 h 147"/>
                <a:gd name="T10" fmla="*/ 113 w 146"/>
                <a:gd name="T11" fmla="*/ 73 h 147"/>
                <a:gd name="T12" fmla="*/ 130 w 146"/>
                <a:gd name="T13" fmla="*/ 73 h 147"/>
                <a:gd name="T14" fmla="*/ 146 w 146"/>
                <a:gd name="T15" fmla="*/ 73 h 147"/>
                <a:gd name="T16" fmla="*/ 73 w 146"/>
                <a:gd name="T17" fmla="*/ 0 h 147"/>
                <a:gd name="T18" fmla="*/ 0 w 146"/>
                <a:gd name="T19" fmla="*/ 73 h 147"/>
                <a:gd name="T20" fmla="*/ 73 w 146"/>
                <a:gd name="T21" fmla="*/ 147 h 147"/>
                <a:gd name="T22" fmla="*/ 146 w 146"/>
                <a:gd name="T23" fmla="*/ 73 h 147"/>
                <a:gd name="T24" fmla="*/ 130 w 146"/>
                <a:gd name="T25" fmla="*/ 7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6" h="147">
                  <a:moveTo>
                    <a:pt x="130" y="73"/>
                  </a:moveTo>
                  <a:lnTo>
                    <a:pt x="113" y="73"/>
                  </a:lnTo>
                  <a:cubicBezTo>
                    <a:pt x="113" y="95"/>
                    <a:pt x="95" y="113"/>
                    <a:pt x="73" y="113"/>
                  </a:cubicBezTo>
                  <a:cubicBezTo>
                    <a:pt x="51" y="113"/>
                    <a:pt x="33" y="95"/>
                    <a:pt x="33" y="73"/>
                  </a:cubicBezTo>
                  <a:cubicBezTo>
                    <a:pt x="33" y="51"/>
                    <a:pt x="51" y="34"/>
                    <a:pt x="73" y="34"/>
                  </a:cubicBezTo>
                  <a:cubicBezTo>
                    <a:pt x="95" y="34"/>
                    <a:pt x="113" y="51"/>
                    <a:pt x="113" y="73"/>
                  </a:cubicBezTo>
                  <a:lnTo>
                    <a:pt x="130" y="73"/>
                  </a:lnTo>
                  <a:lnTo>
                    <a:pt x="146" y="73"/>
                  </a:lnTo>
                  <a:cubicBezTo>
                    <a:pt x="146" y="33"/>
                    <a:pt x="114" y="0"/>
                    <a:pt x="73" y="0"/>
                  </a:cubicBezTo>
                  <a:cubicBezTo>
                    <a:pt x="33" y="0"/>
                    <a:pt x="0" y="33"/>
                    <a:pt x="0" y="73"/>
                  </a:cubicBezTo>
                  <a:cubicBezTo>
                    <a:pt x="0" y="114"/>
                    <a:pt x="33" y="147"/>
                    <a:pt x="73" y="147"/>
                  </a:cubicBezTo>
                  <a:cubicBezTo>
                    <a:pt x="114" y="147"/>
                    <a:pt x="146" y="114"/>
                    <a:pt x="146" y="73"/>
                  </a:cubicBezTo>
                  <a:lnTo>
                    <a:pt x="130" y="7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6" name="Freeform 1499">
              <a:extLst>
                <a:ext uri="{FF2B5EF4-FFF2-40B4-BE49-F238E27FC236}">
                  <a16:creationId xmlns:a16="http://schemas.microsoft.com/office/drawing/2014/main" id="{1B4A60DB-BAB3-90E2-3E2A-F9207857C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4526" y="2182813"/>
              <a:ext cx="41275" cy="20638"/>
            </a:xfrm>
            <a:custGeom>
              <a:avLst/>
              <a:gdLst>
                <a:gd name="T0" fmla="*/ 0 w 197"/>
                <a:gd name="T1" fmla="*/ 31 h 105"/>
                <a:gd name="T2" fmla="*/ 185 w 197"/>
                <a:gd name="T3" fmla="*/ 105 h 105"/>
                <a:gd name="T4" fmla="*/ 197 w 197"/>
                <a:gd name="T5" fmla="*/ 75 h 105"/>
                <a:gd name="T6" fmla="*/ 13 w 197"/>
                <a:gd name="T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7" h="105">
                  <a:moveTo>
                    <a:pt x="0" y="31"/>
                  </a:moveTo>
                  <a:lnTo>
                    <a:pt x="185" y="105"/>
                  </a:lnTo>
                  <a:lnTo>
                    <a:pt x="197" y="75"/>
                  </a:lnTo>
                  <a:lnTo>
                    <a:pt x="13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7" name="Freeform 1500">
              <a:extLst>
                <a:ext uri="{FF2B5EF4-FFF2-40B4-BE49-F238E27FC236}">
                  <a16:creationId xmlns:a16="http://schemas.microsoft.com/office/drawing/2014/main" id="{A2204835-C459-0D14-C7F5-9BA7EBB2A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238" y="2190750"/>
              <a:ext cx="9525" cy="42863"/>
            </a:xfrm>
            <a:custGeom>
              <a:avLst/>
              <a:gdLst>
                <a:gd name="T0" fmla="*/ 33 w 48"/>
                <a:gd name="T1" fmla="*/ 214 h 214"/>
                <a:gd name="T2" fmla="*/ 48 w 48"/>
                <a:gd name="T3" fmla="*/ 2 h 214"/>
                <a:gd name="T4" fmla="*/ 15 w 48"/>
                <a:gd name="T5" fmla="*/ 0 h 214"/>
                <a:gd name="T6" fmla="*/ 0 w 48"/>
                <a:gd name="T7" fmla="*/ 21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214">
                  <a:moveTo>
                    <a:pt x="33" y="214"/>
                  </a:moveTo>
                  <a:lnTo>
                    <a:pt x="48" y="2"/>
                  </a:lnTo>
                  <a:lnTo>
                    <a:pt x="15" y="0"/>
                  </a:lnTo>
                  <a:lnTo>
                    <a:pt x="0" y="211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8" name="Freeform 1501">
              <a:extLst>
                <a:ext uri="{FF2B5EF4-FFF2-40B4-BE49-F238E27FC236}">
                  <a16:creationId xmlns:a16="http://schemas.microsoft.com/office/drawing/2014/main" id="{42BB94EF-BBE8-A30D-5664-8DEB68666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8013" y="2254250"/>
              <a:ext cx="19050" cy="26988"/>
            </a:xfrm>
            <a:custGeom>
              <a:avLst/>
              <a:gdLst>
                <a:gd name="T0" fmla="*/ 30 w 92"/>
                <a:gd name="T1" fmla="*/ 129 h 129"/>
                <a:gd name="T2" fmla="*/ 92 w 92"/>
                <a:gd name="T3" fmla="*/ 16 h 129"/>
                <a:gd name="T4" fmla="*/ 62 w 92"/>
                <a:gd name="T5" fmla="*/ 0 h 129"/>
                <a:gd name="T6" fmla="*/ 0 w 92"/>
                <a:gd name="T7" fmla="*/ 11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29">
                  <a:moveTo>
                    <a:pt x="30" y="129"/>
                  </a:moveTo>
                  <a:lnTo>
                    <a:pt x="92" y="16"/>
                  </a:lnTo>
                  <a:lnTo>
                    <a:pt x="62" y="0"/>
                  </a:lnTo>
                  <a:lnTo>
                    <a:pt x="0" y="11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49" name="Freeform 1502">
              <a:extLst>
                <a:ext uri="{FF2B5EF4-FFF2-40B4-BE49-F238E27FC236}">
                  <a16:creationId xmlns:a16="http://schemas.microsoft.com/office/drawing/2014/main" id="{6B70B3F1-DB8A-3C67-9861-641432A521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8501" y="2233613"/>
              <a:ext cx="55563" cy="77788"/>
            </a:xfrm>
            <a:custGeom>
              <a:avLst/>
              <a:gdLst>
                <a:gd name="T0" fmla="*/ 247 w 274"/>
                <a:gd name="T1" fmla="*/ 0 h 375"/>
                <a:gd name="T2" fmla="*/ 0 w 274"/>
                <a:gd name="T3" fmla="*/ 356 h 375"/>
                <a:gd name="T4" fmla="*/ 28 w 274"/>
                <a:gd name="T5" fmla="*/ 375 h 375"/>
                <a:gd name="T6" fmla="*/ 274 w 274"/>
                <a:gd name="T7" fmla="*/ 19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4" h="375">
                  <a:moveTo>
                    <a:pt x="247" y="0"/>
                  </a:moveTo>
                  <a:lnTo>
                    <a:pt x="0" y="356"/>
                  </a:lnTo>
                  <a:lnTo>
                    <a:pt x="28" y="375"/>
                  </a:lnTo>
                  <a:lnTo>
                    <a:pt x="274" y="19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50" name="Freeform 1503">
              <a:extLst>
                <a:ext uri="{FF2B5EF4-FFF2-40B4-BE49-F238E27FC236}">
                  <a16:creationId xmlns:a16="http://schemas.microsoft.com/office/drawing/2014/main" id="{84013622-3717-0C4D-A714-5CB31A964D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4851" y="2205038"/>
              <a:ext cx="41275" cy="22225"/>
            </a:xfrm>
            <a:custGeom>
              <a:avLst/>
              <a:gdLst>
                <a:gd name="T0" fmla="*/ 0 w 204"/>
                <a:gd name="T1" fmla="*/ 31 h 108"/>
                <a:gd name="T2" fmla="*/ 192 w 204"/>
                <a:gd name="T3" fmla="*/ 108 h 108"/>
                <a:gd name="T4" fmla="*/ 204 w 204"/>
                <a:gd name="T5" fmla="*/ 77 h 108"/>
                <a:gd name="T6" fmla="*/ 13 w 204"/>
                <a:gd name="T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4" h="108">
                  <a:moveTo>
                    <a:pt x="0" y="31"/>
                  </a:moveTo>
                  <a:lnTo>
                    <a:pt x="192" y="108"/>
                  </a:lnTo>
                  <a:lnTo>
                    <a:pt x="204" y="77"/>
                  </a:lnTo>
                  <a:lnTo>
                    <a:pt x="13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51" name="Freeform 1504">
              <a:extLst>
                <a:ext uri="{FF2B5EF4-FFF2-40B4-BE49-F238E27FC236}">
                  <a16:creationId xmlns:a16="http://schemas.microsoft.com/office/drawing/2014/main" id="{38DA4E3F-F72E-21A5-2DDD-84F427F0A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63" y="2214563"/>
              <a:ext cx="92075" cy="179388"/>
            </a:xfrm>
            <a:custGeom>
              <a:avLst/>
              <a:gdLst>
                <a:gd name="T0" fmla="*/ 0 w 58"/>
                <a:gd name="T1" fmla="*/ 56 h 113"/>
                <a:gd name="T2" fmla="*/ 10 w 58"/>
                <a:gd name="T3" fmla="*/ 112 h 113"/>
                <a:gd name="T4" fmla="*/ 12 w 58"/>
                <a:gd name="T5" fmla="*/ 112 h 113"/>
                <a:gd name="T6" fmla="*/ 13 w 58"/>
                <a:gd name="T7" fmla="*/ 113 h 113"/>
                <a:gd name="T8" fmla="*/ 58 w 58"/>
                <a:gd name="T9" fmla="*/ 1 h 113"/>
                <a:gd name="T10" fmla="*/ 54 w 58"/>
                <a:gd name="T11" fmla="*/ 0 h 113"/>
                <a:gd name="T12" fmla="*/ 10 w 58"/>
                <a:gd name="T13" fmla="*/ 109 h 113"/>
                <a:gd name="T14" fmla="*/ 12 w 58"/>
                <a:gd name="T15" fmla="*/ 110 h 113"/>
                <a:gd name="T16" fmla="*/ 12 w 58"/>
                <a:gd name="T17" fmla="*/ 108 h 113"/>
                <a:gd name="T18" fmla="*/ 12 w 58"/>
                <a:gd name="T19" fmla="*/ 108 h 113"/>
                <a:gd name="T20" fmla="*/ 12 w 58"/>
                <a:gd name="T21" fmla="*/ 110 h 113"/>
                <a:gd name="T22" fmla="*/ 14 w 58"/>
                <a:gd name="T23" fmla="*/ 110 h 113"/>
                <a:gd name="T24" fmla="*/ 4 w 58"/>
                <a:gd name="T25" fmla="*/ 56 h 113"/>
                <a:gd name="T26" fmla="*/ 0 w 58"/>
                <a:gd name="T27" fmla="*/ 5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113">
                  <a:moveTo>
                    <a:pt x="0" y="56"/>
                  </a:moveTo>
                  <a:lnTo>
                    <a:pt x="10" y="112"/>
                  </a:lnTo>
                  <a:lnTo>
                    <a:pt x="12" y="112"/>
                  </a:lnTo>
                  <a:lnTo>
                    <a:pt x="13" y="113"/>
                  </a:lnTo>
                  <a:lnTo>
                    <a:pt x="58" y="1"/>
                  </a:lnTo>
                  <a:lnTo>
                    <a:pt x="54" y="0"/>
                  </a:lnTo>
                  <a:lnTo>
                    <a:pt x="10" y="109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10"/>
                  </a:lnTo>
                  <a:lnTo>
                    <a:pt x="14" y="110"/>
                  </a:lnTo>
                  <a:lnTo>
                    <a:pt x="4" y="56"/>
                  </a:lnTo>
                  <a:lnTo>
                    <a:pt x="0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52" name="Freeform 1505">
              <a:extLst>
                <a:ext uri="{FF2B5EF4-FFF2-40B4-BE49-F238E27FC236}">
                  <a16:creationId xmlns:a16="http://schemas.microsoft.com/office/drawing/2014/main" id="{51496E70-6622-5B73-28D7-0D6F4FBC9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7538" y="2324100"/>
              <a:ext cx="71438" cy="68263"/>
            </a:xfrm>
            <a:custGeom>
              <a:avLst/>
              <a:gdLst>
                <a:gd name="T0" fmla="*/ 319 w 343"/>
                <a:gd name="T1" fmla="*/ 0 h 332"/>
                <a:gd name="T2" fmla="*/ 0 w 343"/>
                <a:gd name="T3" fmla="*/ 308 h 332"/>
                <a:gd name="T4" fmla="*/ 23 w 343"/>
                <a:gd name="T5" fmla="*/ 332 h 332"/>
                <a:gd name="T6" fmla="*/ 343 w 343"/>
                <a:gd name="T7" fmla="*/ 24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3" h="332">
                  <a:moveTo>
                    <a:pt x="319" y="0"/>
                  </a:moveTo>
                  <a:lnTo>
                    <a:pt x="0" y="308"/>
                  </a:lnTo>
                  <a:lnTo>
                    <a:pt x="23" y="332"/>
                  </a:lnTo>
                  <a:lnTo>
                    <a:pt x="343" y="2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53" name="Freeform 1506">
              <a:extLst>
                <a:ext uri="{FF2B5EF4-FFF2-40B4-BE49-F238E27FC236}">
                  <a16:creationId xmlns:a16="http://schemas.microsoft.com/office/drawing/2014/main" id="{05BC91AB-595C-24FD-EBFB-30F62D232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9763" y="2247900"/>
              <a:ext cx="163513" cy="73025"/>
            </a:xfrm>
            <a:custGeom>
              <a:avLst/>
              <a:gdLst>
                <a:gd name="T0" fmla="*/ 43 w 103"/>
                <a:gd name="T1" fmla="*/ 46 h 46"/>
                <a:gd name="T2" fmla="*/ 103 w 103"/>
                <a:gd name="T3" fmla="*/ 45 h 46"/>
                <a:gd name="T4" fmla="*/ 103 w 103"/>
                <a:gd name="T5" fmla="*/ 43 h 46"/>
                <a:gd name="T6" fmla="*/ 103 w 103"/>
                <a:gd name="T7" fmla="*/ 42 h 46"/>
                <a:gd name="T8" fmla="*/ 2 w 103"/>
                <a:gd name="T9" fmla="*/ 0 h 46"/>
                <a:gd name="T10" fmla="*/ 0 w 103"/>
                <a:gd name="T11" fmla="*/ 4 h 46"/>
                <a:gd name="T12" fmla="*/ 100 w 103"/>
                <a:gd name="T13" fmla="*/ 45 h 46"/>
                <a:gd name="T14" fmla="*/ 101 w 103"/>
                <a:gd name="T15" fmla="*/ 43 h 46"/>
                <a:gd name="T16" fmla="*/ 99 w 103"/>
                <a:gd name="T17" fmla="*/ 43 h 46"/>
                <a:gd name="T18" fmla="*/ 99 w 103"/>
                <a:gd name="T19" fmla="*/ 43 h 46"/>
                <a:gd name="T20" fmla="*/ 101 w 103"/>
                <a:gd name="T21" fmla="*/ 43 h 46"/>
                <a:gd name="T22" fmla="*/ 101 w 103"/>
                <a:gd name="T23" fmla="*/ 41 h 46"/>
                <a:gd name="T24" fmla="*/ 43 w 103"/>
                <a:gd name="T25" fmla="*/ 42 h 46"/>
                <a:gd name="T26" fmla="*/ 43 w 103"/>
                <a:gd name="T2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3" h="46">
                  <a:moveTo>
                    <a:pt x="43" y="46"/>
                  </a:moveTo>
                  <a:lnTo>
                    <a:pt x="103" y="45"/>
                  </a:lnTo>
                  <a:lnTo>
                    <a:pt x="103" y="43"/>
                  </a:lnTo>
                  <a:lnTo>
                    <a:pt x="103" y="42"/>
                  </a:lnTo>
                  <a:lnTo>
                    <a:pt x="2" y="0"/>
                  </a:lnTo>
                  <a:lnTo>
                    <a:pt x="0" y="4"/>
                  </a:lnTo>
                  <a:lnTo>
                    <a:pt x="100" y="45"/>
                  </a:lnTo>
                  <a:lnTo>
                    <a:pt x="101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101" y="43"/>
                  </a:lnTo>
                  <a:lnTo>
                    <a:pt x="101" y="41"/>
                  </a:lnTo>
                  <a:lnTo>
                    <a:pt x="43" y="42"/>
                  </a:lnTo>
                  <a:lnTo>
                    <a:pt x="43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 dirty="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54" name="Freeform 1507">
              <a:extLst>
                <a:ext uri="{FF2B5EF4-FFF2-40B4-BE49-F238E27FC236}">
                  <a16:creationId xmlns:a16="http://schemas.microsoft.com/office/drawing/2014/main" id="{E665ACDB-8F12-8AB7-1937-FF28B6C68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8826" y="2238375"/>
              <a:ext cx="42863" cy="77788"/>
            </a:xfrm>
            <a:custGeom>
              <a:avLst/>
              <a:gdLst>
                <a:gd name="T0" fmla="*/ 0 w 208"/>
                <a:gd name="T1" fmla="*/ 14 h 378"/>
                <a:gd name="T2" fmla="*/ 178 w 208"/>
                <a:gd name="T3" fmla="*/ 378 h 378"/>
                <a:gd name="T4" fmla="*/ 208 w 208"/>
                <a:gd name="T5" fmla="*/ 363 h 378"/>
                <a:gd name="T6" fmla="*/ 30 w 208"/>
                <a:gd name="T7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8" h="378">
                  <a:moveTo>
                    <a:pt x="0" y="14"/>
                  </a:moveTo>
                  <a:lnTo>
                    <a:pt x="178" y="378"/>
                  </a:lnTo>
                  <a:lnTo>
                    <a:pt x="208" y="363"/>
                  </a:lnTo>
                  <a:lnTo>
                    <a:pt x="3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55" name="Freeform 1508">
              <a:extLst>
                <a:ext uri="{FF2B5EF4-FFF2-40B4-BE49-F238E27FC236}">
                  <a16:creationId xmlns:a16="http://schemas.microsoft.com/office/drawing/2014/main" id="{F009B735-7D9E-6B8F-05B3-34E48A50C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6113" y="2132013"/>
              <a:ext cx="109538" cy="85725"/>
            </a:xfrm>
            <a:custGeom>
              <a:avLst/>
              <a:gdLst>
                <a:gd name="T0" fmla="*/ 15 w 537"/>
                <a:gd name="T1" fmla="*/ 214 h 418"/>
                <a:gd name="T2" fmla="*/ 389 w 537"/>
                <a:gd name="T3" fmla="*/ 32 h 418"/>
                <a:gd name="T4" fmla="*/ 389 w 537"/>
                <a:gd name="T5" fmla="*/ 32 h 418"/>
                <a:gd name="T6" fmla="*/ 383 w 537"/>
                <a:gd name="T7" fmla="*/ 20 h 418"/>
                <a:gd name="T8" fmla="*/ 383 w 537"/>
                <a:gd name="T9" fmla="*/ 34 h 418"/>
                <a:gd name="T10" fmla="*/ 389 w 537"/>
                <a:gd name="T11" fmla="*/ 32 h 418"/>
                <a:gd name="T12" fmla="*/ 383 w 537"/>
                <a:gd name="T13" fmla="*/ 20 h 418"/>
                <a:gd name="T14" fmla="*/ 383 w 537"/>
                <a:gd name="T15" fmla="*/ 34 h 418"/>
                <a:gd name="T16" fmla="*/ 383 w 537"/>
                <a:gd name="T17" fmla="*/ 20 h 418"/>
                <a:gd name="T18" fmla="*/ 371 w 537"/>
                <a:gd name="T19" fmla="*/ 25 h 418"/>
                <a:gd name="T20" fmla="*/ 383 w 537"/>
                <a:gd name="T21" fmla="*/ 34 h 418"/>
                <a:gd name="T22" fmla="*/ 383 w 537"/>
                <a:gd name="T23" fmla="*/ 20 h 418"/>
                <a:gd name="T24" fmla="*/ 371 w 537"/>
                <a:gd name="T25" fmla="*/ 25 h 418"/>
                <a:gd name="T26" fmla="*/ 370 w 537"/>
                <a:gd name="T27" fmla="*/ 25 h 418"/>
                <a:gd name="T28" fmla="*/ 506 w 537"/>
                <a:gd name="T29" fmla="*/ 418 h 418"/>
                <a:gd name="T30" fmla="*/ 537 w 537"/>
                <a:gd name="T31" fmla="*/ 408 h 418"/>
                <a:gd name="T32" fmla="*/ 402 w 537"/>
                <a:gd name="T33" fmla="*/ 14 h 418"/>
                <a:gd name="T34" fmla="*/ 402 w 537"/>
                <a:gd name="T35" fmla="*/ 14 h 418"/>
                <a:gd name="T36" fmla="*/ 383 w 537"/>
                <a:gd name="T37" fmla="*/ 0 h 418"/>
                <a:gd name="T38" fmla="*/ 375 w 537"/>
                <a:gd name="T39" fmla="*/ 2 h 418"/>
                <a:gd name="T40" fmla="*/ 375 w 537"/>
                <a:gd name="T41" fmla="*/ 2 h 418"/>
                <a:gd name="T42" fmla="*/ 0 w 537"/>
                <a:gd name="T43" fmla="*/ 184 h 418"/>
                <a:gd name="T44" fmla="*/ 15 w 537"/>
                <a:gd name="T45" fmla="*/ 214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7" h="418">
                  <a:moveTo>
                    <a:pt x="15" y="214"/>
                  </a:moveTo>
                  <a:lnTo>
                    <a:pt x="389" y="32"/>
                  </a:lnTo>
                  <a:lnTo>
                    <a:pt x="389" y="32"/>
                  </a:lnTo>
                  <a:lnTo>
                    <a:pt x="383" y="20"/>
                  </a:lnTo>
                  <a:lnTo>
                    <a:pt x="383" y="34"/>
                  </a:lnTo>
                  <a:cubicBezTo>
                    <a:pt x="386" y="34"/>
                    <a:pt x="388" y="33"/>
                    <a:pt x="389" y="32"/>
                  </a:cubicBezTo>
                  <a:lnTo>
                    <a:pt x="383" y="20"/>
                  </a:lnTo>
                  <a:lnTo>
                    <a:pt x="383" y="34"/>
                  </a:lnTo>
                  <a:lnTo>
                    <a:pt x="383" y="20"/>
                  </a:lnTo>
                  <a:lnTo>
                    <a:pt x="371" y="25"/>
                  </a:lnTo>
                  <a:cubicBezTo>
                    <a:pt x="372" y="30"/>
                    <a:pt x="378" y="34"/>
                    <a:pt x="383" y="34"/>
                  </a:cubicBezTo>
                  <a:lnTo>
                    <a:pt x="383" y="20"/>
                  </a:lnTo>
                  <a:lnTo>
                    <a:pt x="371" y="25"/>
                  </a:lnTo>
                  <a:lnTo>
                    <a:pt x="370" y="25"/>
                  </a:lnTo>
                  <a:lnTo>
                    <a:pt x="506" y="418"/>
                  </a:lnTo>
                  <a:lnTo>
                    <a:pt x="537" y="408"/>
                  </a:lnTo>
                  <a:lnTo>
                    <a:pt x="402" y="14"/>
                  </a:lnTo>
                  <a:lnTo>
                    <a:pt x="402" y="14"/>
                  </a:lnTo>
                  <a:cubicBezTo>
                    <a:pt x="399" y="6"/>
                    <a:pt x="391" y="0"/>
                    <a:pt x="383" y="0"/>
                  </a:cubicBezTo>
                  <a:cubicBezTo>
                    <a:pt x="380" y="0"/>
                    <a:pt x="377" y="1"/>
                    <a:pt x="375" y="2"/>
                  </a:cubicBezTo>
                  <a:lnTo>
                    <a:pt x="375" y="2"/>
                  </a:lnTo>
                  <a:lnTo>
                    <a:pt x="0" y="184"/>
                  </a:lnTo>
                  <a:lnTo>
                    <a:pt x="15" y="21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  <p:sp>
          <p:nvSpPr>
            <p:cNvPr id="56" name="Freeform 1509">
              <a:extLst>
                <a:ext uri="{FF2B5EF4-FFF2-40B4-BE49-F238E27FC236}">
                  <a16:creationId xmlns:a16="http://schemas.microsoft.com/office/drawing/2014/main" id="{7E43F64B-1181-2574-C9F9-CD46B846B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7688" y="2179638"/>
              <a:ext cx="76200" cy="31750"/>
            </a:xfrm>
            <a:custGeom>
              <a:avLst/>
              <a:gdLst>
                <a:gd name="T0" fmla="*/ 11 w 372"/>
                <a:gd name="T1" fmla="*/ 153 h 153"/>
                <a:gd name="T2" fmla="*/ 372 w 372"/>
                <a:gd name="T3" fmla="*/ 32 h 153"/>
                <a:gd name="T4" fmla="*/ 362 w 372"/>
                <a:gd name="T5" fmla="*/ 0 h 153"/>
                <a:gd name="T6" fmla="*/ 0 w 372"/>
                <a:gd name="T7" fmla="*/ 12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2" h="153">
                  <a:moveTo>
                    <a:pt x="11" y="153"/>
                  </a:moveTo>
                  <a:lnTo>
                    <a:pt x="372" y="32"/>
                  </a:lnTo>
                  <a:lnTo>
                    <a:pt x="362" y="0"/>
                  </a:lnTo>
                  <a:lnTo>
                    <a:pt x="0" y="12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srgbClr val="5FF84A"/>
                </a:solidFill>
                <a:latin typeface="Calibri" panose="020F0502020204030204"/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799596C6-6503-F8DB-FBD3-F3C7796C3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 Transizione digital&amp;green delle imprese – Risorse 2024-2025</a:t>
            </a:r>
          </a:p>
        </p:txBody>
      </p:sp>
      <p:sp>
        <p:nvSpPr>
          <p:cNvPr id="57" name="object 41">
            <a:extLst>
              <a:ext uri="{FF2B5EF4-FFF2-40B4-BE49-F238E27FC236}">
                <a16:creationId xmlns:a16="http://schemas.microsoft.com/office/drawing/2014/main" id="{3D75CEE7-30B5-8CFA-F64A-6088F1DA3AAE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56237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4124EB-02E1-2161-7D36-805C363D4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2">
            <a:extLst>
              <a:ext uri="{FF2B5EF4-FFF2-40B4-BE49-F238E27FC236}">
                <a16:creationId xmlns:a16="http://schemas.microsoft.com/office/drawing/2014/main" id="{3FF94B9A-E204-75A6-D96C-7D286B8676FA}"/>
              </a:ext>
            </a:extLst>
          </p:cNvPr>
          <p:cNvSpPr/>
          <p:nvPr/>
        </p:nvSpPr>
        <p:spPr>
          <a:xfrm>
            <a:off x="11612664" y="6477001"/>
            <a:ext cx="350737" cy="307777"/>
          </a:xfrm>
          <a:prstGeom prst="rect">
            <a:avLst/>
          </a:prstGeom>
        </p:spPr>
        <p:txBody>
          <a:bodyPr wrap="none" lIns="137160" tIns="68580" rIns="137160" bIns="68580">
            <a:spAutoFit/>
          </a:bodyPr>
          <a:lstStyle/>
          <a:p>
            <a:pPr algn="r" defTabSz="1371738">
              <a:defRPr/>
            </a:pPr>
            <a:fld id="{149B6D55-4680-4DC5-B665-330CCBA60EFE}" type="slidenum">
              <a:rPr lang="ru-RU" sz="1100">
                <a:solidFill>
                  <a:srgbClr val="75787B"/>
                </a:solidFill>
                <a:latin typeface="Trebuchet MS" panose="020B0603020202020204" pitchFamily="34" charset="0"/>
                <a:ea typeface="Lato" panose="020F0502020204030203" pitchFamily="34" charset="0"/>
                <a:cs typeface="Arial"/>
              </a:rPr>
              <a:pPr algn="r" defTabSz="1371738">
                <a:defRPr/>
              </a:pPr>
              <a:t>3</a:t>
            </a:fld>
            <a:endParaRPr lang="ru-RU" sz="1100">
              <a:solidFill>
                <a:srgbClr val="75787B"/>
              </a:solidFill>
              <a:latin typeface="Trebuchet MS" panose="020B0603020202020204" pitchFamily="34" charset="0"/>
              <a:ea typeface="Lato" panose="020F0502020204030203" pitchFamily="34" charset="0"/>
              <a:cs typeface="Arial"/>
            </a:endParaRPr>
          </a:p>
        </p:txBody>
      </p:sp>
      <p:sp>
        <p:nvSpPr>
          <p:cNvPr id="59" name="AutoShape 2">
            <a:extLst>
              <a:ext uri="{FF2B5EF4-FFF2-40B4-BE49-F238E27FC236}">
                <a16:creationId xmlns:a16="http://schemas.microsoft.com/office/drawing/2014/main" id="{71764BDA-973C-2D27-20EF-EA49F01E2E46}"/>
              </a:ext>
            </a:extLst>
          </p:cNvPr>
          <p:cNvSpPr/>
          <p:nvPr/>
        </p:nvSpPr>
        <p:spPr>
          <a:xfrm>
            <a:off x="0" y="5969746"/>
            <a:ext cx="12192000" cy="900641"/>
          </a:xfrm>
          <a:prstGeom prst="rect">
            <a:avLst/>
          </a:prstGeom>
          <a:solidFill>
            <a:srgbClr val="0066CC"/>
          </a:solidFill>
        </p:spPr>
        <p:txBody>
          <a:bodyPr/>
          <a:lstStyle/>
          <a:p>
            <a:endParaRPr lang="it-IT" sz="1200"/>
          </a:p>
        </p:txBody>
      </p:sp>
      <p:sp>
        <p:nvSpPr>
          <p:cNvPr id="60" name="Freeform 3">
            <a:extLst>
              <a:ext uri="{FF2B5EF4-FFF2-40B4-BE49-F238E27FC236}">
                <a16:creationId xmlns:a16="http://schemas.microsoft.com/office/drawing/2014/main" id="{DEC635AA-AC35-6C23-CE60-A300A3F96123}"/>
              </a:ext>
            </a:extLst>
          </p:cNvPr>
          <p:cNvSpPr/>
          <p:nvPr/>
        </p:nvSpPr>
        <p:spPr>
          <a:xfrm>
            <a:off x="930281" y="6070573"/>
            <a:ext cx="2515673" cy="705684"/>
          </a:xfrm>
          <a:custGeom>
            <a:avLst/>
            <a:gdLst/>
            <a:ahLst/>
            <a:cxnLst/>
            <a:rect l="l" t="t" r="r" b="b"/>
            <a:pathLst>
              <a:path w="3773510" h="1058526">
                <a:moveTo>
                  <a:pt x="0" y="0"/>
                </a:moveTo>
                <a:lnTo>
                  <a:pt x="3773510" y="0"/>
                </a:lnTo>
                <a:lnTo>
                  <a:pt x="3773510" y="1058526"/>
                </a:lnTo>
                <a:lnTo>
                  <a:pt x="0" y="105852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it-IT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AE350C-A7C6-7BCE-F467-87C0F71DD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931489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Caratteristiche dell’agevolazione</a:t>
            </a:r>
          </a:p>
        </p:txBody>
      </p:sp>
      <p:sp>
        <p:nvSpPr>
          <p:cNvPr id="3" name="object 41">
            <a:extLst>
              <a:ext uri="{FF2B5EF4-FFF2-40B4-BE49-F238E27FC236}">
                <a16:creationId xmlns:a16="http://schemas.microsoft.com/office/drawing/2014/main" id="{B058C256-9DCC-2B88-C6A5-F80E9031EF1A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00E8E190-B4B1-34C9-67D6-CA72E25979CA}"/>
              </a:ext>
            </a:extLst>
          </p:cNvPr>
          <p:cNvSpPr txBox="1"/>
          <p:nvPr/>
        </p:nvSpPr>
        <p:spPr>
          <a:xfrm>
            <a:off x="6278880" y="1483360"/>
            <a:ext cx="1229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dirty="0">
                <a:solidFill>
                  <a:schemeClr val="bg1"/>
                </a:solidFill>
              </a:rPr>
              <a:t>Tutte le imprese </a:t>
            </a:r>
          </a:p>
        </p:txBody>
      </p:sp>
      <p:graphicFrame>
        <p:nvGraphicFramePr>
          <p:cNvPr id="18" name="Diagramma 17">
            <a:extLst>
              <a:ext uri="{FF2B5EF4-FFF2-40B4-BE49-F238E27FC236}">
                <a16:creationId xmlns:a16="http://schemas.microsoft.com/office/drawing/2014/main" id="{AB54819F-0C89-E988-E9C6-8617E70114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2118476"/>
              </p:ext>
            </p:extLst>
          </p:nvPr>
        </p:nvGraphicFramePr>
        <p:xfrm>
          <a:off x="-1927052" y="882726"/>
          <a:ext cx="9064486" cy="49853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4" name="Diagramma 3">
            <a:extLst>
              <a:ext uri="{FF2B5EF4-FFF2-40B4-BE49-F238E27FC236}">
                <a16:creationId xmlns:a16="http://schemas.microsoft.com/office/drawing/2014/main" id="{2B1C29F5-B83C-47F5-6774-B0849FD5B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1740450"/>
              </p:ext>
            </p:extLst>
          </p:nvPr>
        </p:nvGraphicFramePr>
        <p:xfrm>
          <a:off x="5304028" y="966963"/>
          <a:ext cx="6223149" cy="4901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6237806" y="1134063"/>
            <a:ext cx="43555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dirty="0">
                <a:solidFill>
                  <a:srgbClr val="00B050"/>
                </a:solidFill>
              </a:rPr>
              <a:t>DNSH</a:t>
            </a:r>
          </a:p>
          <a:p>
            <a:pPr algn="ctr"/>
            <a:r>
              <a:rPr lang="it-IT" dirty="0">
                <a:solidFill>
                  <a:srgbClr val="00B050"/>
                </a:solidFill>
              </a:rPr>
              <a:t>Attività escluse</a:t>
            </a:r>
          </a:p>
        </p:txBody>
      </p:sp>
    </p:spTree>
    <p:extLst>
      <p:ext uri="{BB962C8B-B14F-4D97-AF65-F5344CB8AC3E}">
        <p14:creationId xmlns:p14="http://schemas.microsoft.com/office/powerpoint/2010/main" val="40806002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2">
            <a:extLst>
              <a:ext uri="{FF2B5EF4-FFF2-40B4-BE49-F238E27FC236}">
                <a16:creationId xmlns:a16="http://schemas.microsoft.com/office/drawing/2014/main" id="{0A4181FD-ACF1-33B8-F5E1-FFCB68212132}"/>
              </a:ext>
            </a:extLst>
          </p:cNvPr>
          <p:cNvSpPr/>
          <p:nvPr/>
        </p:nvSpPr>
        <p:spPr>
          <a:xfrm>
            <a:off x="11612664" y="6477001"/>
            <a:ext cx="350737" cy="307777"/>
          </a:xfrm>
          <a:prstGeom prst="rect">
            <a:avLst/>
          </a:prstGeom>
        </p:spPr>
        <p:txBody>
          <a:bodyPr wrap="none" lIns="137160" tIns="68580" rIns="137160" bIns="68580">
            <a:spAutoFit/>
          </a:bodyPr>
          <a:lstStyle/>
          <a:p>
            <a:pPr algn="r" defTabSz="1371738">
              <a:defRPr/>
            </a:pPr>
            <a:fld id="{149B6D55-4680-4DC5-B665-330CCBA60EFE}" type="slidenum">
              <a:rPr lang="ru-RU" sz="1100">
                <a:solidFill>
                  <a:srgbClr val="75787B"/>
                </a:solidFill>
                <a:latin typeface="Trebuchet MS" panose="020B0603020202020204" pitchFamily="34" charset="0"/>
                <a:ea typeface="Lato" panose="020F0502020204030203" pitchFamily="34" charset="0"/>
                <a:cs typeface="Arial"/>
              </a:rPr>
              <a:pPr algn="r" defTabSz="1371738">
                <a:defRPr/>
              </a:pPr>
              <a:t>4</a:t>
            </a:fld>
            <a:endParaRPr lang="ru-RU" sz="1100">
              <a:solidFill>
                <a:srgbClr val="75787B"/>
              </a:solidFill>
              <a:latin typeface="Trebuchet MS" panose="020B0603020202020204" pitchFamily="34" charset="0"/>
              <a:ea typeface="Lato" panose="020F0502020204030203" pitchFamily="34" charset="0"/>
              <a:cs typeface="Arial"/>
            </a:endParaRPr>
          </a:p>
        </p:txBody>
      </p:sp>
      <p:cxnSp>
        <p:nvCxnSpPr>
          <p:cNvPr id="30" name="Straight Connector 103">
            <a:extLst>
              <a:ext uri="{FF2B5EF4-FFF2-40B4-BE49-F238E27FC236}">
                <a16:creationId xmlns:a16="http://schemas.microsoft.com/office/drawing/2014/main" id="{B3418F7C-925D-D9CC-AE25-94808EE638AA}"/>
              </a:ext>
            </a:extLst>
          </p:cNvPr>
          <p:cNvCxnSpPr>
            <a:cxnSpLocks/>
          </p:cNvCxnSpPr>
          <p:nvPr/>
        </p:nvCxnSpPr>
        <p:spPr>
          <a:xfrm>
            <a:off x="692178" y="1964568"/>
            <a:ext cx="4984117" cy="10489"/>
          </a:xfrm>
          <a:prstGeom prst="line">
            <a:avLst/>
          </a:prstGeom>
          <a:ln w="1206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113">
            <a:extLst>
              <a:ext uri="{FF2B5EF4-FFF2-40B4-BE49-F238E27FC236}">
                <a16:creationId xmlns:a16="http://schemas.microsoft.com/office/drawing/2014/main" id="{A9BF1413-C0E0-25B6-D808-954795B1B1CD}"/>
              </a:ext>
            </a:extLst>
          </p:cNvPr>
          <p:cNvSpPr>
            <a:spLocks noChangeAspect="1"/>
          </p:cNvSpPr>
          <p:nvPr/>
        </p:nvSpPr>
        <p:spPr>
          <a:xfrm>
            <a:off x="377748" y="1754683"/>
            <a:ext cx="430258" cy="43025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615">
              <a:defRPr/>
            </a:pPr>
            <a:endParaRPr lang="it-IT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36" name="Oval 115">
            <a:extLst>
              <a:ext uri="{FF2B5EF4-FFF2-40B4-BE49-F238E27FC236}">
                <a16:creationId xmlns:a16="http://schemas.microsoft.com/office/drawing/2014/main" id="{38F04269-E063-DEE0-4899-FD4F72DAA19F}"/>
              </a:ext>
            </a:extLst>
          </p:cNvPr>
          <p:cNvSpPr>
            <a:spLocks noChangeAspect="1"/>
          </p:cNvSpPr>
          <p:nvPr/>
        </p:nvSpPr>
        <p:spPr>
          <a:xfrm>
            <a:off x="5246038" y="1754684"/>
            <a:ext cx="430257" cy="430257"/>
          </a:xfrm>
          <a:prstGeom prst="ellipse">
            <a:avLst/>
          </a:prstGeom>
          <a:solidFill>
            <a:schemeClr val="tx2"/>
          </a:solidFill>
          <a:ln w="57150">
            <a:solidFill>
              <a:srgbClr val="00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615">
              <a:defRPr/>
            </a:pPr>
            <a:endParaRPr lang="it-IT" sz="1200" kern="0">
              <a:solidFill>
                <a:sysClr val="windowText" lastClr="000000"/>
              </a:solidFill>
            </a:endParaRPr>
          </a:p>
        </p:txBody>
      </p:sp>
      <p:sp>
        <p:nvSpPr>
          <p:cNvPr id="39" name="Oval 115">
            <a:extLst>
              <a:ext uri="{FF2B5EF4-FFF2-40B4-BE49-F238E27FC236}">
                <a16:creationId xmlns:a16="http://schemas.microsoft.com/office/drawing/2014/main" id="{D21DA4FB-3FEE-1CDC-31DA-120C34953DA4}"/>
              </a:ext>
            </a:extLst>
          </p:cNvPr>
          <p:cNvSpPr>
            <a:spLocks noChangeAspect="1"/>
          </p:cNvSpPr>
          <p:nvPr/>
        </p:nvSpPr>
        <p:spPr>
          <a:xfrm>
            <a:off x="2919458" y="1754684"/>
            <a:ext cx="430257" cy="430257"/>
          </a:xfrm>
          <a:prstGeom prst="ellipse">
            <a:avLst/>
          </a:prstGeom>
          <a:solidFill>
            <a:schemeClr val="tx2"/>
          </a:solidFill>
          <a:ln w="57150">
            <a:solidFill>
              <a:srgbClr val="00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615">
              <a:defRPr/>
            </a:pPr>
            <a:endParaRPr lang="it-IT" sz="1200" kern="0">
              <a:solidFill>
                <a:sysClr val="windowText" lastClr="000000"/>
              </a:solidFill>
            </a:endParaRPr>
          </a:p>
        </p:txBody>
      </p:sp>
      <p:cxnSp>
        <p:nvCxnSpPr>
          <p:cNvPr id="40" name="Straight Connector 103">
            <a:extLst>
              <a:ext uri="{FF2B5EF4-FFF2-40B4-BE49-F238E27FC236}">
                <a16:creationId xmlns:a16="http://schemas.microsoft.com/office/drawing/2014/main" id="{19CB3CF8-E75E-072B-AA2B-7946CADCE5D0}"/>
              </a:ext>
            </a:extLst>
          </p:cNvPr>
          <p:cNvCxnSpPr>
            <a:cxnSpLocks/>
          </p:cNvCxnSpPr>
          <p:nvPr/>
        </p:nvCxnSpPr>
        <p:spPr>
          <a:xfrm flipV="1">
            <a:off x="5676295" y="1952703"/>
            <a:ext cx="2456826" cy="6639"/>
          </a:xfrm>
          <a:prstGeom prst="line">
            <a:avLst/>
          </a:prstGeom>
          <a:ln w="1206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03">
            <a:extLst>
              <a:ext uri="{FF2B5EF4-FFF2-40B4-BE49-F238E27FC236}">
                <a16:creationId xmlns:a16="http://schemas.microsoft.com/office/drawing/2014/main" id="{63B5F968-F1F5-B4D6-15EE-A1F51881BB20}"/>
              </a:ext>
            </a:extLst>
          </p:cNvPr>
          <p:cNvCxnSpPr>
            <a:cxnSpLocks/>
          </p:cNvCxnSpPr>
          <p:nvPr/>
        </p:nvCxnSpPr>
        <p:spPr>
          <a:xfrm flipV="1">
            <a:off x="692178" y="4409547"/>
            <a:ext cx="4609557" cy="1487"/>
          </a:xfrm>
          <a:prstGeom prst="line">
            <a:avLst/>
          </a:prstGeom>
          <a:ln w="1206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113">
            <a:extLst>
              <a:ext uri="{FF2B5EF4-FFF2-40B4-BE49-F238E27FC236}">
                <a16:creationId xmlns:a16="http://schemas.microsoft.com/office/drawing/2014/main" id="{DE59CA43-1408-D198-50C6-80287AB9D92A}"/>
              </a:ext>
            </a:extLst>
          </p:cNvPr>
          <p:cNvSpPr>
            <a:spLocks noChangeAspect="1"/>
          </p:cNvSpPr>
          <p:nvPr/>
        </p:nvSpPr>
        <p:spPr>
          <a:xfrm>
            <a:off x="377748" y="4194418"/>
            <a:ext cx="430258" cy="430258"/>
          </a:xfrm>
          <a:prstGeom prst="ellipse">
            <a:avLst/>
          </a:prstGeom>
          <a:solidFill>
            <a:srgbClr val="00B050"/>
          </a:solidFill>
          <a:ln w="57150">
            <a:solidFill>
              <a:srgbClr val="4BE8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615">
              <a:defRPr/>
            </a:pPr>
            <a:endParaRPr lang="it-IT" sz="1200" kern="0">
              <a:solidFill>
                <a:sysClr val="windowText" lastClr="000000"/>
              </a:solidFill>
            </a:endParaRPr>
          </a:p>
        </p:txBody>
      </p:sp>
      <p:sp>
        <p:nvSpPr>
          <p:cNvPr id="52" name="Oval 113">
            <a:extLst>
              <a:ext uri="{FF2B5EF4-FFF2-40B4-BE49-F238E27FC236}">
                <a16:creationId xmlns:a16="http://schemas.microsoft.com/office/drawing/2014/main" id="{F0F20B7F-6714-1294-C0D1-9FC8B2674822}"/>
              </a:ext>
            </a:extLst>
          </p:cNvPr>
          <p:cNvSpPr>
            <a:spLocks noChangeAspect="1"/>
          </p:cNvSpPr>
          <p:nvPr/>
        </p:nvSpPr>
        <p:spPr>
          <a:xfrm>
            <a:off x="5250839" y="4194418"/>
            <a:ext cx="430258" cy="430258"/>
          </a:xfrm>
          <a:prstGeom prst="ellipse">
            <a:avLst/>
          </a:prstGeom>
          <a:solidFill>
            <a:srgbClr val="00B050"/>
          </a:solidFill>
          <a:ln w="57150">
            <a:solidFill>
              <a:srgbClr val="4BE8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615">
              <a:defRPr/>
            </a:pPr>
            <a:endParaRPr lang="it-IT" sz="1200" kern="0">
              <a:solidFill>
                <a:sysClr val="windowText" lastClr="000000"/>
              </a:solidFill>
            </a:endParaRPr>
          </a:p>
        </p:txBody>
      </p:sp>
      <p:sp>
        <p:nvSpPr>
          <p:cNvPr id="59" name="AutoShape 2">
            <a:extLst>
              <a:ext uri="{FF2B5EF4-FFF2-40B4-BE49-F238E27FC236}">
                <a16:creationId xmlns:a16="http://schemas.microsoft.com/office/drawing/2014/main" id="{7F619A97-4208-7D05-1513-D7EBD37310A3}"/>
              </a:ext>
            </a:extLst>
          </p:cNvPr>
          <p:cNvSpPr/>
          <p:nvPr/>
        </p:nvSpPr>
        <p:spPr>
          <a:xfrm>
            <a:off x="0" y="5969746"/>
            <a:ext cx="12192000" cy="900641"/>
          </a:xfrm>
          <a:prstGeom prst="rect">
            <a:avLst/>
          </a:prstGeom>
          <a:solidFill>
            <a:srgbClr val="0066CC"/>
          </a:solidFill>
        </p:spPr>
        <p:txBody>
          <a:bodyPr/>
          <a:lstStyle/>
          <a:p>
            <a:endParaRPr lang="it-IT" sz="1200"/>
          </a:p>
        </p:txBody>
      </p:sp>
      <p:sp>
        <p:nvSpPr>
          <p:cNvPr id="60" name="Freeform 3">
            <a:extLst>
              <a:ext uri="{FF2B5EF4-FFF2-40B4-BE49-F238E27FC236}">
                <a16:creationId xmlns:a16="http://schemas.microsoft.com/office/drawing/2014/main" id="{A22BAD60-AE36-83F3-E2A3-EFFDD8EAAEA3}"/>
              </a:ext>
            </a:extLst>
          </p:cNvPr>
          <p:cNvSpPr/>
          <p:nvPr/>
        </p:nvSpPr>
        <p:spPr>
          <a:xfrm>
            <a:off x="930281" y="6070573"/>
            <a:ext cx="2515673" cy="705684"/>
          </a:xfrm>
          <a:custGeom>
            <a:avLst/>
            <a:gdLst/>
            <a:ahLst/>
            <a:cxnLst/>
            <a:rect l="l" t="t" r="r" b="b"/>
            <a:pathLst>
              <a:path w="3773510" h="1058526">
                <a:moveTo>
                  <a:pt x="0" y="0"/>
                </a:moveTo>
                <a:lnTo>
                  <a:pt x="3773510" y="0"/>
                </a:lnTo>
                <a:lnTo>
                  <a:pt x="3773510" y="1058526"/>
                </a:lnTo>
                <a:lnTo>
                  <a:pt x="0" y="1058526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it-IT" sz="1200"/>
          </a:p>
        </p:txBody>
      </p:sp>
      <p:sp>
        <p:nvSpPr>
          <p:cNvPr id="62" name="CasellaDiTesto 61">
            <a:extLst>
              <a:ext uri="{FF2B5EF4-FFF2-40B4-BE49-F238E27FC236}">
                <a16:creationId xmlns:a16="http://schemas.microsoft.com/office/drawing/2014/main" id="{384335A7-194D-80E2-9E3C-85299162AA54}"/>
              </a:ext>
            </a:extLst>
          </p:cNvPr>
          <p:cNvSpPr txBox="1"/>
          <p:nvPr/>
        </p:nvSpPr>
        <p:spPr>
          <a:xfrm>
            <a:off x="1394350" y="2061732"/>
            <a:ext cx="8734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2024</a:t>
            </a:r>
            <a:endParaRPr lang="it-IT" sz="2400" dirty="0"/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2A517624-797E-6995-1457-BD61ED64C0D4}"/>
              </a:ext>
            </a:extLst>
          </p:cNvPr>
          <p:cNvSpPr txBox="1"/>
          <p:nvPr/>
        </p:nvSpPr>
        <p:spPr>
          <a:xfrm>
            <a:off x="3812528" y="2061731"/>
            <a:ext cx="8773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2025</a:t>
            </a:r>
            <a:endParaRPr lang="it-IT" sz="1200" dirty="0"/>
          </a:p>
        </p:txBody>
      </p:sp>
      <p:sp>
        <p:nvSpPr>
          <p:cNvPr id="64" name="CasellaDiTesto 63">
            <a:extLst>
              <a:ext uri="{FF2B5EF4-FFF2-40B4-BE49-F238E27FC236}">
                <a16:creationId xmlns:a16="http://schemas.microsoft.com/office/drawing/2014/main" id="{2F2CEDD6-4350-ED37-92B0-1496B4F10C3A}"/>
              </a:ext>
            </a:extLst>
          </p:cNvPr>
          <p:cNvSpPr txBox="1"/>
          <p:nvPr/>
        </p:nvSpPr>
        <p:spPr>
          <a:xfrm>
            <a:off x="1394350" y="4650076"/>
            <a:ext cx="8717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2024</a:t>
            </a:r>
            <a:endParaRPr lang="it-IT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5" name="CasellaDiTesto 64">
            <a:extLst>
              <a:ext uri="{FF2B5EF4-FFF2-40B4-BE49-F238E27FC236}">
                <a16:creationId xmlns:a16="http://schemas.microsoft.com/office/drawing/2014/main" id="{1A3700BE-021D-FFF0-B0FF-ED3E27C83ECB}"/>
              </a:ext>
            </a:extLst>
          </p:cNvPr>
          <p:cNvSpPr txBox="1"/>
          <p:nvPr/>
        </p:nvSpPr>
        <p:spPr>
          <a:xfrm>
            <a:off x="3812528" y="4678593"/>
            <a:ext cx="8773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2025</a:t>
            </a:r>
            <a:endParaRPr lang="it-IT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Oval 113">
            <a:extLst>
              <a:ext uri="{FF2B5EF4-FFF2-40B4-BE49-F238E27FC236}">
                <a16:creationId xmlns:a16="http://schemas.microsoft.com/office/drawing/2014/main" id="{BB2B77A3-36B8-D457-CE86-F873A23581ED}"/>
              </a:ext>
            </a:extLst>
          </p:cNvPr>
          <p:cNvSpPr>
            <a:spLocks noChangeAspect="1"/>
          </p:cNvSpPr>
          <p:nvPr/>
        </p:nvSpPr>
        <p:spPr>
          <a:xfrm>
            <a:off x="7702863" y="1754683"/>
            <a:ext cx="430258" cy="43025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615">
              <a:defRPr/>
            </a:pPr>
            <a:endParaRPr lang="it-IT" sz="1200" kern="0">
              <a:solidFill>
                <a:sysClr val="windowText" lastClr="000000"/>
              </a:solidFill>
            </a:endParaRPr>
          </a:p>
        </p:txBody>
      </p:sp>
      <p:grpSp>
        <p:nvGrpSpPr>
          <p:cNvPr id="72" name="Gruppo 71">
            <a:extLst>
              <a:ext uri="{FF2B5EF4-FFF2-40B4-BE49-F238E27FC236}">
                <a16:creationId xmlns:a16="http://schemas.microsoft.com/office/drawing/2014/main" id="{6058935A-9A4C-EDA3-A5D4-C8FF73F74796}"/>
              </a:ext>
            </a:extLst>
          </p:cNvPr>
          <p:cNvGrpSpPr/>
          <p:nvPr/>
        </p:nvGrpSpPr>
        <p:grpSpPr>
          <a:xfrm>
            <a:off x="8953748" y="1727104"/>
            <a:ext cx="2583998" cy="897639"/>
            <a:chOff x="1143000" y="1825736"/>
            <a:chExt cx="7760459" cy="989033"/>
          </a:xfrm>
        </p:grpSpPr>
        <p:sp>
          <p:nvSpPr>
            <p:cNvPr id="73" name="Rectangle 8">
              <a:extLst>
                <a:ext uri="{FF2B5EF4-FFF2-40B4-BE49-F238E27FC236}">
                  <a16:creationId xmlns:a16="http://schemas.microsoft.com/office/drawing/2014/main" id="{59290831-F394-5C2A-487F-52710E364386}"/>
                </a:ext>
              </a:extLst>
            </p:cNvPr>
            <p:cNvSpPr/>
            <p:nvPr/>
          </p:nvSpPr>
          <p:spPr>
            <a:xfrm>
              <a:off x="1143000" y="1825736"/>
              <a:ext cx="7760459" cy="476887"/>
            </a:xfrm>
            <a:prstGeom prst="rect">
              <a:avLst/>
            </a:prstGeom>
            <a:solidFill>
              <a:srgbClr val="0066C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867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izione</a:t>
              </a:r>
              <a:r>
                <a:rPr lang="en-US" sz="1867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4.0</a:t>
              </a:r>
              <a:endParaRPr lang="it-IT" sz="1867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4" name="Rettangolo 73">
              <a:extLst>
                <a:ext uri="{FF2B5EF4-FFF2-40B4-BE49-F238E27FC236}">
                  <a16:creationId xmlns:a16="http://schemas.microsoft.com/office/drawing/2014/main" id="{51F723E7-3DED-5587-39F7-95A9AD59679C}"/>
                </a:ext>
              </a:extLst>
            </p:cNvPr>
            <p:cNvSpPr/>
            <p:nvPr/>
          </p:nvSpPr>
          <p:spPr>
            <a:xfrm>
              <a:off x="1143000" y="2337885"/>
              <a:ext cx="7756925" cy="4768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75" name="CasellaDiTesto 44">
              <a:extLst>
                <a:ext uri="{FF2B5EF4-FFF2-40B4-BE49-F238E27FC236}">
                  <a16:creationId xmlns:a16="http://schemas.microsoft.com/office/drawing/2014/main" id="{F7D5A9FE-983D-C0D3-461B-F13F8063A559}"/>
                </a:ext>
              </a:extLst>
            </p:cNvPr>
            <p:cNvSpPr txBox="1"/>
            <p:nvPr/>
          </p:nvSpPr>
          <p:spPr>
            <a:xfrm>
              <a:off x="1185433" y="2390024"/>
              <a:ext cx="7617530" cy="41831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it-IT" sz="1867" b="1" dirty="0">
                  <a:ea typeface="Calibri"/>
                  <a:cs typeface="Calibri"/>
                </a:rPr>
                <a:t>Risorse nazionali</a:t>
              </a:r>
              <a:endParaRPr lang="it-IT" sz="1867" b="1" dirty="0"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76" name="Gruppo 75">
            <a:extLst>
              <a:ext uri="{FF2B5EF4-FFF2-40B4-BE49-F238E27FC236}">
                <a16:creationId xmlns:a16="http://schemas.microsoft.com/office/drawing/2014/main" id="{9A899674-41B2-8074-BA90-FBFCDC218839}"/>
              </a:ext>
            </a:extLst>
          </p:cNvPr>
          <p:cNvGrpSpPr/>
          <p:nvPr/>
        </p:nvGrpSpPr>
        <p:grpSpPr>
          <a:xfrm>
            <a:off x="8947843" y="3983269"/>
            <a:ext cx="2599570" cy="945524"/>
            <a:chOff x="1143000" y="1825736"/>
            <a:chExt cx="7760459" cy="989033"/>
          </a:xfrm>
          <a:solidFill>
            <a:srgbClr val="5FF84A"/>
          </a:solidFill>
        </p:grpSpPr>
        <p:sp>
          <p:nvSpPr>
            <p:cNvPr id="77" name="Rectangle 8">
              <a:extLst>
                <a:ext uri="{FF2B5EF4-FFF2-40B4-BE49-F238E27FC236}">
                  <a16:creationId xmlns:a16="http://schemas.microsoft.com/office/drawing/2014/main" id="{57AC5424-3C86-21F6-1B15-F4FBBCB8F19E}"/>
                </a:ext>
              </a:extLst>
            </p:cNvPr>
            <p:cNvSpPr/>
            <p:nvPr/>
          </p:nvSpPr>
          <p:spPr>
            <a:xfrm>
              <a:off x="1143000" y="1825736"/>
              <a:ext cx="7760459" cy="47688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867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ransizione</a:t>
              </a:r>
              <a:r>
                <a:rPr lang="en-US" sz="1867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5.0</a:t>
              </a:r>
              <a:endParaRPr lang="it-IT" sz="1867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8" name="Rettangolo 77">
              <a:extLst>
                <a:ext uri="{FF2B5EF4-FFF2-40B4-BE49-F238E27FC236}">
                  <a16:creationId xmlns:a16="http://schemas.microsoft.com/office/drawing/2014/main" id="{07BF0A20-798B-931F-B016-E218BEBFC5DD}"/>
                </a:ext>
              </a:extLst>
            </p:cNvPr>
            <p:cNvSpPr/>
            <p:nvPr/>
          </p:nvSpPr>
          <p:spPr>
            <a:xfrm>
              <a:off x="1143000" y="2337885"/>
              <a:ext cx="7756925" cy="47688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79" name="CasellaDiTesto 44">
              <a:extLst>
                <a:ext uri="{FF2B5EF4-FFF2-40B4-BE49-F238E27FC236}">
                  <a16:creationId xmlns:a16="http://schemas.microsoft.com/office/drawing/2014/main" id="{47D5453B-B685-EB20-A8F8-F09FA1456EAF}"/>
                </a:ext>
              </a:extLst>
            </p:cNvPr>
            <p:cNvSpPr txBox="1"/>
            <p:nvPr/>
          </p:nvSpPr>
          <p:spPr>
            <a:xfrm>
              <a:off x="1185436" y="2390023"/>
              <a:ext cx="7588497" cy="41831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it-IT" sz="1867" b="1" dirty="0">
                  <a:ea typeface="Calibri"/>
                  <a:cs typeface="Calibri"/>
                </a:rPr>
                <a:t>Risorse PNRR</a:t>
              </a:r>
              <a:endParaRPr lang="it-IT" sz="1867" b="1" dirty="0"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9D718B1-A30D-993D-FC29-939E45032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digital&amp;green delle imprese – Orizzonte temporale </a:t>
            </a:r>
          </a:p>
        </p:txBody>
      </p:sp>
      <p:sp>
        <p:nvSpPr>
          <p:cNvPr id="3" name="object 41">
            <a:extLst>
              <a:ext uri="{FF2B5EF4-FFF2-40B4-BE49-F238E27FC236}">
                <a16:creationId xmlns:a16="http://schemas.microsoft.com/office/drawing/2014/main" id="{23B4372F-A5F9-43BE-5424-20173082AFC1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p:sp>
        <p:nvSpPr>
          <p:cNvPr id="4" name="Oval 113">
            <a:extLst>
              <a:ext uri="{FF2B5EF4-FFF2-40B4-BE49-F238E27FC236}">
                <a16:creationId xmlns:a16="http://schemas.microsoft.com/office/drawing/2014/main" id="{B67CD981-CCB2-83AD-23E0-780FB3E35B80}"/>
              </a:ext>
            </a:extLst>
          </p:cNvPr>
          <p:cNvSpPr>
            <a:spLocks noChangeAspect="1"/>
          </p:cNvSpPr>
          <p:nvPr/>
        </p:nvSpPr>
        <p:spPr>
          <a:xfrm>
            <a:off x="2919457" y="4194418"/>
            <a:ext cx="430258" cy="430258"/>
          </a:xfrm>
          <a:prstGeom prst="ellipse">
            <a:avLst/>
          </a:prstGeom>
          <a:solidFill>
            <a:srgbClr val="00B050"/>
          </a:solidFill>
          <a:ln w="57150">
            <a:solidFill>
              <a:srgbClr val="4BE8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615">
              <a:defRPr/>
            </a:pPr>
            <a:endParaRPr lang="it-IT" sz="1200" kern="0">
              <a:solidFill>
                <a:sysClr val="windowText" lastClr="000000"/>
              </a:solidFill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349F26AC-513B-C2FF-D333-A2EC4170EA34}"/>
              </a:ext>
            </a:extLst>
          </p:cNvPr>
          <p:cNvSpPr txBox="1"/>
          <p:nvPr/>
        </p:nvSpPr>
        <p:spPr>
          <a:xfrm>
            <a:off x="223106" y="1336325"/>
            <a:ext cx="8000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dirty="0">
                <a:solidFill>
                  <a:schemeClr val="tx2">
                    <a:lumMod val="50000"/>
                  </a:schemeClr>
                </a:solidFill>
              </a:rPr>
              <a:t>01/01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036FA6DD-656C-0BA9-100B-25344E1BCC0D}"/>
              </a:ext>
            </a:extLst>
          </p:cNvPr>
          <p:cNvSpPr txBox="1"/>
          <p:nvPr/>
        </p:nvSpPr>
        <p:spPr>
          <a:xfrm>
            <a:off x="5061151" y="1341859"/>
            <a:ext cx="8000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dirty="0">
                <a:solidFill>
                  <a:schemeClr val="tx2">
                    <a:lumMod val="50000"/>
                  </a:schemeClr>
                </a:solidFill>
              </a:rPr>
              <a:t>31/12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1C002F74-0B65-3E0D-5CB1-70C636ED137A}"/>
              </a:ext>
            </a:extLst>
          </p:cNvPr>
          <p:cNvSpPr txBox="1"/>
          <p:nvPr/>
        </p:nvSpPr>
        <p:spPr>
          <a:xfrm>
            <a:off x="192862" y="3743895"/>
            <a:ext cx="8000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dirty="0">
                <a:solidFill>
                  <a:schemeClr val="tx2">
                    <a:lumMod val="50000"/>
                  </a:schemeClr>
                </a:solidFill>
              </a:rPr>
              <a:t>01/01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5318A9F2-A821-DF3A-54C4-065ED279AE87}"/>
              </a:ext>
            </a:extLst>
          </p:cNvPr>
          <p:cNvSpPr txBox="1"/>
          <p:nvPr/>
        </p:nvSpPr>
        <p:spPr>
          <a:xfrm>
            <a:off x="5061151" y="3738941"/>
            <a:ext cx="8000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dirty="0">
                <a:solidFill>
                  <a:schemeClr val="tx2">
                    <a:lumMod val="50000"/>
                  </a:schemeClr>
                </a:solidFill>
              </a:rPr>
              <a:t>31/12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3B4C858F-8232-4C6E-DB54-B2BEF6399C1B}"/>
              </a:ext>
            </a:extLst>
          </p:cNvPr>
          <p:cNvSpPr txBox="1"/>
          <p:nvPr/>
        </p:nvSpPr>
        <p:spPr>
          <a:xfrm>
            <a:off x="7445219" y="1342787"/>
            <a:ext cx="8000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000" dirty="0">
                <a:solidFill>
                  <a:schemeClr val="tx2">
                    <a:lumMod val="50000"/>
                  </a:schemeClr>
                </a:solidFill>
              </a:rPr>
              <a:t>30/06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9831C0B2-6AE5-7C16-6963-C0EC415DFB85}"/>
              </a:ext>
            </a:extLst>
          </p:cNvPr>
          <p:cNvSpPr txBox="1"/>
          <p:nvPr/>
        </p:nvSpPr>
        <p:spPr>
          <a:xfrm>
            <a:off x="6298036" y="2061730"/>
            <a:ext cx="8773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2026</a:t>
            </a: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2732632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87583-8B47-6B0D-944C-F464098721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2">
            <a:extLst>
              <a:ext uri="{FF2B5EF4-FFF2-40B4-BE49-F238E27FC236}">
                <a16:creationId xmlns:a16="http://schemas.microsoft.com/office/drawing/2014/main" id="{9C347D32-52DE-297D-3530-CDDC6707F6A0}"/>
              </a:ext>
            </a:extLst>
          </p:cNvPr>
          <p:cNvSpPr/>
          <p:nvPr/>
        </p:nvSpPr>
        <p:spPr>
          <a:xfrm>
            <a:off x="11612664" y="6477001"/>
            <a:ext cx="350737" cy="307777"/>
          </a:xfrm>
          <a:prstGeom prst="rect">
            <a:avLst/>
          </a:prstGeom>
        </p:spPr>
        <p:txBody>
          <a:bodyPr wrap="none" lIns="137160" tIns="68580" rIns="137160" bIns="68580">
            <a:spAutoFit/>
          </a:bodyPr>
          <a:lstStyle/>
          <a:p>
            <a:pPr algn="r" defTabSz="1371738">
              <a:defRPr/>
            </a:pPr>
            <a:fld id="{149B6D55-4680-4DC5-B665-330CCBA60EFE}" type="slidenum">
              <a:rPr lang="ru-RU" sz="1100">
                <a:solidFill>
                  <a:srgbClr val="75787B"/>
                </a:solidFill>
                <a:latin typeface="Trebuchet MS" panose="020B0603020202020204" pitchFamily="34" charset="0"/>
                <a:ea typeface="Lato" panose="020F0502020204030203" pitchFamily="34" charset="0"/>
                <a:cs typeface="Arial"/>
              </a:rPr>
              <a:pPr algn="r" defTabSz="1371738">
                <a:defRPr/>
              </a:pPr>
              <a:t>5</a:t>
            </a:fld>
            <a:endParaRPr lang="ru-RU" sz="1100">
              <a:solidFill>
                <a:srgbClr val="75787B"/>
              </a:solidFill>
              <a:latin typeface="Trebuchet MS" panose="020B0603020202020204" pitchFamily="34" charset="0"/>
              <a:ea typeface="Lato" panose="020F0502020204030203" pitchFamily="34" charset="0"/>
              <a:cs typeface="Arial"/>
            </a:endParaRPr>
          </a:p>
        </p:txBody>
      </p:sp>
      <p:sp>
        <p:nvSpPr>
          <p:cNvPr id="59" name="AutoShape 2">
            <a:extLst>
              <a:ext uri="{FF2B5EF4-FFF2-40B4-BE49-F238E27FC236}">
                <a16:creationId xmlns:a16="http://schemas.microsoft.com/office/drawing/2014/main" id="{89EB060D-F30B-82EC-B2F1-85DAE65E48AF}"/>
              </a:ext>
            </a:extLst>
          </p:cNvPr>
          <p:cNvSpPr/>
          <p:nvPr/>
        </p:nvSpPr>
        <p:spPr>
          <a:xfrm>
            <a:off x="0" y="5969746"/>
            <a:ext cx="12192000" cy="900641"/>
          </a:xfrm>
          <a:prstGeom prst="rect">
            <a:avLst/>
          </a:prstGeom>
          <a:solidFill>
            <a:srgbClr val="0066CC"/>
          </a:solidFill>
        </p:spPr>
        <p:txBody>
          <a:bodyPr/>
          <a:lstStyle/>
          <a:p>
            <a:endParaRPr lang="it-IT" sz="1200"/>
          </a:p>
        </p:txBody>
      </p:sp>
      <p:sp>
        <p:nvSpPr>
          <p:cNvPr id="60" name="Freeform 3">
            <a:extLst>
              <a:ext uri="{FF2B5EF4-FFF2-40B4-BE49-F238E27FC236}">
                <a16:creationId xmlns:a16="http://schemas.microsoft.com/office/drawing/2014/main" id="{BCE29D06-9777-61A6-8734-CB524BD0101C}"/>
              </a:ext>
            </a:extLst>
          </p:cNvPr>
          <p:cNvSpPr/>
          <p:nvPr/>
        </p:nvSpPr>
        <p:spPr>
          <a:xfrm>
            <a:off x="930281" y="6070573"/>
            <a:ext cx="2515673" cy="705684"/>
          </a:xfrm>
          <a:custGeom>
            <a:avLst/>
            <a:gdLst/>
            <a:ahLst/>
            <a:cxnLst/>
            <a:rect l="l" t="t" r="r" b="b"/>
            <a:pathLst>
              <a:path w="3773510" h="1058526">
                <a:moveTo>
                  <a:pt x="0" y="0"/>
                </a:moveTo>
                <a:lnTo>
                  <a:pt x="3773510" y="0"/>
                </a:lnTo>
                <a:lnTo>
                  <a:pt x="3773510" y="1058526"/>
                </a:lnTo>
                <a:lnTo>
                  <a:pt x="0" y="1058526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it-IT" sz="12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5FBBC-82FC-4320-984E-ACB872CAE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Progetto di innovazione</a:t>
            </a:r>
          </a:p>
        </p:txBody>
      </p:sp>
      <p:sp>
        <p:nvSpPr>
          <p:cNvPr id="3" name="object 41">
            <a:extLst>
              <a:ext uri="{FF2B5EF4-FFF2-40B4-BE49-F238E27FC236}">
                <a16:creationId xmlns:a16="http://schemas.microsoft.com/office/drawing/2014/main" id="{73D9BC3B-5331-E0B3-EAB4-90AA6EA7F156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p:graphicFrame>
        <p:nvGraphicFramePr>
          <p:cNvPr id="10" name="Diagramma 9">
            <a:extLst>
              <a:ext uri="{FF2B5EF4-FFF2-40B4-BE49-F238E27FC236}">
                <a16:creationId xmlns:a16="http://schemas.microsoft.com/office/drawing/2014/main" id="{3202BDD1-56FE-6373-9E33-3A1ED626C7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6719853"/>
              </p:ext>
            </p:extLst>
          </p:nvPr>
        </p:nvGraphicFramePr>
        <p:xfrm>
          <a:off x="474249" y="820493"/>
          <a:ext cx="11489151" cy="5155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39" name="Immagine 138">
            <a:extLst>
              <a:ext uri="{FF2B5EF4-FFF2-40B4-BE49-F238E27FC236}">
                <a16:creationId xmlns:a16="http://schemas.microsoft.com/office/drawing/2014/main" id="{07A9242B-2686-2E68-0738-6C9873F2766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30877" y="1891928"/>
            <a:ext cx="457240" cy="495343"/>
          </a:xfrm>
          <a:prstGeom prst="rect">
            <a:avLst/>
          </a:prstGeom>
        </p:spPr>
      </p:pic>
      <p:pic>
        <p:nvPicPr>
          <p:cNvPr id="141" name="Immagine 140">
            <a:extLst>
              <a:ext uri="{FF2B5EF4-FFF2-40B4-BE49-F238E27FC236}">
                <a16:creationId xmlns:a16="http://schemas.microsoft.com/office/drawing/2014/main" id="{976AC479-BCD9-F08A-358F-C2241BF6899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710060" y="1914790"/>
            <a:ext cx="434378" cy="472481"/>
          </a:xfrm>
          <a:prstGeom prst="rect">
            <a:avLst/>
          </a:prstGeom>
        </p:spPr>
      </p:pic>
      <p:sp>
        <p:nvSpPr>
          <p:cNvPr id="4" name="Sustainable_Energ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78ECBB8-CB82-3BB1-5E10-26FBABFBA38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flipV="1">
            <a:off x="9365844" y="2082449"/>
            <a:ext cx="535020" cy="198335"/>
          </a:xfrm>
          <a:custGeom>
            <a:avLst/>
            <a:gdLst>
              <a:gd name="T0" fmla="*/ 972 w 1250"/>
              <a:gd name="T1" fmla="*/ 0 h 556"/>
              <a:gd name="T2" fmla="*/ 776 w 1250"/>
              <a:gd name="T3" fmla="*/ 81 h 556"/>
              <a:gd name="T4" fmla="*/ 425 w 1250"/>
              <a:gd name="T5" fmla="*/ 425 h 556"/>
              <a:gd name="T6" fmla="*/ 278 w 1250"/>
              <a:gd name="T7" fmla="*/ 486 h 556"/>
              <a:gd name="T8" fmla="*/ 69 w 1250"/>
              <a:gd name="T9" fmla="*/ 278 h 556"/>
              <a:gd name="T10" fmla="*/ 278 w 1250"/>
              <a:gd name="T11" fmla="*/ 69 h 556"/>
              <a:gd name="T12" fmla="*/ 425 w 1250"/>
              <a:gd name="T13" fmla="*/ 131 h 556"/>
              <a:gd name="T14" fmla="*/ 461 w 1250"/>
              <a:gd name="T15" fmla="*/ 165 h 556"/>
              <a:gd name="T16" fmla="*/ 451 w 1250"/>
              <a:gd name="T17" fmla="*/ 208 h 556"/>
              <a:gd name="T18" fmla="*/ 482 w 1250"/>
              <a:gd name="T19" fmla="*/ 282 h 556"/>
              <a:gd name="T20" fmla="*/ 629 w 1250"/>
              <a:gd name="T21" fmla="*/ 135 h 556"/>
              <a:gd name="T22" fmla="*/ 556 w 1250"/>
              <a:gd name="T23" fmla="*/ 104 h 556"/>
              <a:gd name="T24" fmla="*/ 509 w 1250"/>
              <a:gd name="T25" fmla="*/ 115 h 556"/>
              <a:gd name="T26" fmla="*/ 474 w 1250"/>
              <a:gd name="T27" fmla="*/ 81 h 556"/>
              <a:gd name="T28" fmla="*/ 278 w 1250"/>
              <a:gd name="T29" fmla="*/ 0 h 556"/>
              <a:gd name="T30" fmla="*/ 0 w 1250"/>
              <a:gd name="T31" fmla="*/ 278 h 556"/>
              <a:gd name="T32" fmla="*/ 278 w 1250"/>
              <a:gd name="T33" fmla="*/ 556 h 556"/>
              <a:gd name="T34" fmla="*/ 474 w 1250"/>
              <a:gd name="T35" fmla="*/ 474 h 556"/>
              <a:gd name="T36" fmla="*/ 825 w 1250"/>
              <a:gd name="T37" fmla="*/ 131 h 556"/>
              <a:gd name="T38" fmla="*/ 972 w 1250"/>
              <a:gd name="T39" fmla="*/ 69 h 556"/>
              <a:gd name="T40" fmla="*/ 1181 w 1250"/>
              <a:gd name="T41" fmla="*/ 278 h 556"/>
              <a:gd name="T42" fmla="*/ 972 w 1250"/>
              <a:gd name="T43" fmla="*/ 486 h 556"/>
              <a:gd name="T44" fmla="*/ 861 w 1250"/>
              <a:gd name="T45" fmla="*/ 454 h 556"/>
              <a:gd name="T46" fmla="*/ 868 w 1250"/>
              <a:gd name="T47" fmla="*/ 417 h 556"/>
              <a:gd name="T48" fmla="*/ 838 w 1250"/>
              <a:gd name="T49" fmla="*/ 343 h 556"/>
              <a:gd name="T50" fmla="*/ 811 w 1250"/>
              <a:gd name="T51" fmla="*/ 370 h 556"/>
              <a:gd name="T52" fmla="*/ 741 w 1250"/>
              <a:gd name="T53" fmla="*/ 300 h 556"/>
              <a:gd name="T54" fmla="*/ 717 w 1250"/>
              <a:gd name="T55" fmla="*/ 325 h 556"/>
              <a:gd name="T56" fmla="*/ 786 w 1250"/>
              <a:gd name="T57" fmla="*/ 394 h 556"/>
              <a:gd name="T58" fmla="*/ 741 w 1250"/>
              <a:gd name="T59" fmla="*/ 439 h 556"/>
              <a:gd name="T60" fmla="*/ 672 w 1250"/>
              <a:gd name="T61" fmla="*/ 370 h 556"/>
              <a:gd name="T62" fmla="*/ 647 w 1250"/>
              <a:gd name="T63" fmla="*/ 394 h 556"/>
              <a:gd name="T64" fmla="*/ 717 w 1250"/>
              <a:gd name="T65" fmla="*/ 464 h 556"/>
              <a:gd name="T66" fmla="*/ 690 w 1250"/>
              <a:gd name="T67" fmla="*/ 490 h 556"/>
              <a:gd name="T68" fmla="*/ 764 w 1250"/>
              <a:gd name="T69" fmla="*/ 521 h 556"/>
              <a:gd name="T70" fmla="*/ 816 w 1250"/>
              <a:gd name="T71" fmla="*/ 507 h 556"/>
              <a:gd name="T72" fmla="*/ 972 w 1250"/>
              <a:gd name="T73" fmla="*/ 556 h 556"/>
              <a:gd name="T74" fmla="*/ 1250 w 1250"/>
              <a:gd name="T75" fmla="*/ 278 h 556"/>
              <a:gd name="T76" fmla="*/ 972 w 1250"/>
              <a:gd name="T77" fmla="*/ 0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50" h="556">
                <a:moveTo>
                  <a:pt x="972" y="0"/>
                </a:moveTo>
                <a:cubicBezTo>
                  <a:pt x="896" y="0"/>
                  <a:pt x="826" y="31"/>
                  <a:pt x="776" y="81"/>
                </a:cubicBezTo>
                <a:lnTo>
                  <a:pt x="425" y="425"/>
                </a:lnTo>
                <a:cubicBezTo>
                  <a:pt x="387" y="463"/>
                  <a:pt x="335" y="486"/>
                  <a:pt x="278" y="486"/>
                </a:cubicBezTo>
                <a:cubicBezTo>
                  <a:pt x="163" y="486"/>
                  <a:pt x="69" y="393"/>
                  <a:pt x="69" y="278"/>
                </a:cubicBezTo>
                <a:cubicBezTo>
                  <a:pt x="69" y="163"/>
                  <a:pt x="163" y="69"/>
                  <a:pt x="278" y="69"/>
                </a:cubicBezTo>
                <a:cubicBezTo>
                  <a:pt x="335" y="69"/>
                  <a:pt x="387" y="93"/>
                  <a:pt x="425" y="131"/>
                </a:cubicBezTo>
                <a:lnTo>
                  <a:pt x="461" y="165"/>
                </a:lnTo>
                <a:cubicBezTo>
                  <a:pt x="455" y="179"/>
                  <a:pt x="451" y="193"/>
                  <a:pt x="451" y="208"/>
                </a:cubicBezTo>
                <a:cubicBezTo>
                  <a:pt x="451" y="237"/>
                  <a:pt x="463" y="263"/>
                  <a:pt x="482" y="282"/>
                </a:cubicBezTo>
                <a:lnTo>
                  <a:pt x="629" y="135"/>
                </a:lnTo>
                <a:cubicBezTo>
                  <a:pt x="610" y="116"/>
                  <a:pt x="584" y="104"/>
                  <a:pt x="556" y="104"/>
                </a:cubicBezTo>
                <a:cubicBezTo>
                  <a:pt x="539" y="104"/>
                  <a:pt x="523" y="108"/>
                  <a:pt x="509" y="115"/>
                </a:cubicBezTo>
                <a:lnTo>
                  <a:pt x="474" y="81"/>
                </a:lnTo>
                <a:cubicBezTo>
                  <a:pt x="424" y="31"/>
                  <a:pt x="354" y="0"/>
                  <a:pt x="278" y="0"/>
                </a:cubicBezTo>
                <a:cubicBezTo>
                  <a:pt x="125" y="0"/>
                  <a:pt x="0" y="125"/>
                  <a:pt x="0" y="278"/>
                </a:cubicBezTo>
                <a:cubicBezTo>
                  <a:pt x="0" y="431"/>
                  <a:pt x="125" y="556"/>
                  <a:pt x="278" y="556"/>
                </a:cubicBezTo>
                <a:cubicBezTo>
                  <a:pt x="354" y="556"/>
                  <a:pt x="424" y="524"/>
                  <a:pt x="474" y="474"/>
                </a:cubicBezTo>
                <a:lnTo>
                  <a:pt x="825" y="131"/>
                </a:lnTo>
                <a:cubicBezTo>
                  <a:pt x="863" y="93"/>
                  <a:pt x="915" y="69"/>
                  <a:pt x="972" y="69"/>
                </a:cubicBezTo>
                <a:cubicBezTo>
                  <a:pt x="1087" y="69"/>
                  <a:pt x="1181" y="163"/>
                  <a:pt x="1181" y="278"/>
                </a:cubicBezTo>
                <a:cubicBezTo>
                  <a:pt x="1181" y="393"/>
                  <a:pt x="1087" y="486"/>
                  <a:pt x="972" y="486"/>
                </a:cubicBezTo>
                <a:cubicBezTo>
                  <a:pt x="931" y="486"/>
                  <a:pt x="893" y="474"/>
                  <a:pt x="861" y="454"/>
                </a:cubicBezTo>
                <a:cubicBezTo>
                  <a:pt x="866" y="442"/>
                  <a:pt x="868" y="430"/>
                  <a:pt x="868" y="417"/>
                </a:cubicBezTo>
                <a:cubicBezTo>
                  <a:pt x="868" y="388"/>
                  <a:pt x="856" y="362"/>
                  <a:pt x="838" y="343"/>
                </a:cubicBezTo>
                <a:lnTo>
                  <a:pt x="811" y="370"/>
                </a:lnTo>
                <a:lnTo>
                  <a:pt x="741" y="300"/>
                </a:lnTo>
                <a:lnTo>
                  <a:pt x="717" y="325"/>
                </a:lnTo>
                <a:lnTo>
                  <a:pt x="786" y="394"/>
                </a:lnTo>
                <a:lnTo>
                  <a:pt x="741" y="439"/>
                </a:lnTo>
                <a:lnTo>
                  <a:pt x="672" y="370"/>
                </a:lnTo>
                <a:lnTo>
                  <a:pt x="647" y="394"/>
                </a:lnTo>
                <a:lnTo>
                  <a:pt x="717" y="464"/>
                </a:lnTo>
                <a:lnTo>
                  <a:pt x="690" y="490"/>
                </a:lnTo>
                <a:cubicBezTo>
                  <a:pt x="709" y="509"/>
                  <a:pt x="735" y="521"/>
                  <a:pt x="764" y="521"/>
                </a:cubicBezTo>
                <a:cubicBezTo>
                  <a:pt x="783" y="521"/>
                  <a:pt x="800" y="516"/>
                  <a:pt x="816" y="507"/>
                </a:cubicBezTo>
                <a:cubicBezTo>
                  <a:pt x="860" y="538"/>
                  <a:pt x="914" y="556"/>
                  <a:pt x="972" y="556"/>
                </a:cubicBezTo>
                <a:cubicBezTo>
                  <a:pt x="1125" y="556"/>
                  <a:pt x="1250" y="431"/>
                  <a:pt x="1250" y="278"/>
                </a:cubicBezTo>
                <a:cubicBezTo>
                  <a:pt x="1250" y="125"/>
                  <a:pt x="1125" y="0"/>
                  <a:pt x="972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pPr defTabSz="609630">
              <a:defRPr/>
            </a:pP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23453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ttangolo con angoli arrotondati 67">
            <a:extLst>
              <a:ext uri="{FF2B5EF4-FFF2-40B4-BE49-F238E27FC236}">
                <a16:creationId xmlns:a16="http://schemas.microsoft.com/office/drawing/2014/main" id="{516C2628-22AA-D44D-0CBE-850BD6E79857}"/>
              </a:ext>
            </a:extLst>
          </p:cNvPr>
          <p:cNvSpPr/>
          <p:nvPr/>
        </p:nvSpPr>
        <p:spPr>
          <a:xfrm>
            <a:off x="982847" y="3423989"/>
            <a:ext cx="3214323" cy="880176"/>
          </a:xfrm>
          <a:prstGeom prst="roundRect">
            <a:avLst/>
          </a:prstGeom>
          <a:solidFill>
            <a:srgbClr val="FAC730"/>
          </a:solidFill>
          <a:ln w="38100">
            <a:solidFill>
              <a:srgbClr val="FFC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sz="1200" dirty="0"/>
          </a:p>
        </p:txBody>
      </p:sp>
      <p:grpSp>
        <p:nvGrpSpPr>
          <p:cNvPr id="3" name="Groupe 93">
            <a:extLst>
              <a:ext uri="{FF2B5EF4-FFF2-40B4-BE49-F238E27FC236}">
                <a16:creationId xmlns:a16="http://schemas.microsoft.com/office/drawing/2014/main" id="{977EDC0D-B1D0-CDA1-84F1-62D7233926DC}"/>
              </a:ext>
            </a:extLst>
          </p:cNvPr>
          <p:cNvGrpSpPr/>
          <p:nvPr/>
        </p:nvGrpSpPr>
        <p:grpSpPr>
          <a:xfrm>
            <a:off x="4267200" y="2057400"/>
            <a:ext cx="4076458" cy="3538967"/>
            <a:chOff x="3003612" y="480454"/>
            <a:chExt cx="5770056" cy="5009260"/>
          </a:xfrm>
        </p:grpSpPr>
        <p:sp>
          <p:nvSpPr>
            <p:cNvPr id="4" name="Forme libre : forme 88">
              <a:extLst>
                <a:ext uri="{FF2B5EF4-FFF2-40B4-BE49-F238E27FC236}">
                  <a16:creationId xmlns:a16="http://schemas.microsoft.com/office/drawing/2014/main" id="{D796A513-2272-8385-CBC6-113E49ECCD8A}"/>
                </a:ext>
              </a:extLst>
            </p:cNvPr>
            <p:cNvSpPr/>
            <p:nvPr/>
          </p:nvSpPr>
          <p:spPr>
            <a:xfrm rot="10800000">
              <a:off x="4061913" y="480454"/>
              <a:ext cx="3010675" cy="3402901"/>
            </a:xfrm>
            <a:custGeom>
              <a:avLst/>
              <a:gdLst>
                <a:gd name="connsiteX0" fmla="*/ 1276552 w 3010675"/>
                <a:gd name="connsiteY0" fmla="*/ 3402760 h 3402901"/>
                <a:gd name="connsiteX1" fmla="*/ 1194484 w 3010675"/>
                <a:gd name="connsiteY1" fmla="*/ 3398616 h 3402901"/>
                <a:gd name="connsiteX2" fmla="*/ 1183941 w 3010675"/>
                <a:gd name="connsiteY2" fmla="*/ 3396229 h 3402901"/>
                <a:gd name="connsiteX3" fmla="*/ 1173412 w 3010675"/>
                <a:gd name="connsiteY3" fmla="*/ 3398613 h 3402901"/>
                <a:gd name="connsiteX4" fmla="*/ 613533 w 3010675"/>
                <a:gd name="connsiteY4" fmla="*/ 3119933 h 3402901"/>
                <a:gd name="connsiteX5" fmla="*/ 0 w 3010675"/>
                <a:gd name="connsiteY5" fmla="*/ 2057262 h 3402901"/>
                <a:gd name="connsiteX6" fmla="*/ 59244 w 3010675"/>
                <a:gd name="connsiteY6" fmla="*/ 2075291 h 3402901"/>
                <a:gd name="connsiteX7" fmla="*/ 675233 w 3010675"/>
                <a:gd name="connsiteY7" fmla="*/ 2160686 h 3402901"/>
                <a:gd name="connsiteX8" fmla="*/ 892245 w 3010675"/>
                <a:gd name="connsiteY8" fmla="*/ 2154988 h 3402901"/>
                <a:gd name="connsiteX9" fmla="*/ 1747358 w 3010675"/>
                <a:gd name="connsiteY9" fmla="*/ 1946850 h 3402901"/>
                <a:gd name="connsiteX10" fmla="*/ 1784592 w 3010675"/>
                <a:gd name="connsiteY10" fmla="*/ 1927642 h 3402901"/>
                <a:gd name="connsiteX11" fmla="*/ 1803639 w 3010675"/>
                <a:gd name="connsiteY11" fmla="*/ 1920670 h 3402901"/>
                <a:gd name="connsiteX12" fmla="*/ 2787569 w 3010675"/>
                <a:gd name="connsiteY12" fmla="*/ 436265 h 3402901"/>
                <a:gd name="connsiteX13" fmla="*/ 2736851 w 3010675"/>
                <a:gd name="connsiteY13" fmla="*/ 33650 h 3402901"/>
                <a:gd name="connsiteX14" fmla="*/ 2725934 w 3010675"/>
                <a:gd name="connsiteY14" fmla="*/ 0 h 3402901"/>
                <a:gd name="connsiteX15" fmla="*/ 2757856 w 3010675"/>
                <a:gd name="connsiteY15" fmla="*/ 59446 h 3402901"/>
                <a:gd name="connsiteX16" fmla="*/ 2993197 w 3010675"/>
                <a:gd name="connsiteY16" fmla="*/ 797111 h 3402901"/>
                <a:gd name="connsiteX17" fmla="*/ 3010675 w 3010675"/>
                <a:gd name="connsiteY17" fmla="*/ 943939 h 3402901"/>
                <a:gd name="connsiteX18" fmla="*/ 1754363 w 3010675"/>
                <a:gd name="connsiteY18" fmla="*/ 3119936 h 3402901"/>
                <a:gd name="connsiteX19" fmla="*/ 1276552 w 3010675"/>
                <a:gd name="connsiteY19" fmla="*/ 3402760 h 3402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10675" h="3402901">
                  <a:moveTo>
                    <a:pt x="1276552" y="3402760"/>
                  </a:moveTo>
                  <a:cubicBezTo>
                    <a:pt x="1249262" y="3403371"/>
                    <a:pt x="1221833" y="3402010"/>
                    <a:pt x="1194484" y="3398616"/>
                  </a:cubicBezTo>
                  <a:lnTo>
                    <a:pt x="1183941" y="3396229"/>
                  </a:lnTo>
                  <a:lnTo>
                    <a:pt x="1173412" y="3398613"/>
                  </a:lnTo>
                  <a:cubicBezTo>
                    <a:pt x="954620" y="3425761"/>
                    <a:pt x="730702" y="3322876"/>
                    <a:pt x="613533" y="3119933"/>
                  </a:cubicBezTo>
                  <a:lnTo>
                    <a:pt x="0" y="2057262"/>
                  </a:lnTo>
                  <a:lnTo>
                    <a:pt x="59244" y="2075291"/>
                  </a:lnTo>
                  <a:cubicBezTo>
                    <a:pt x="253567" y="2127793"/>
                    <a:pt x="460580" y="2157447"/>
                    <a:pt x="675233" y="2160686"/>
                  </a:cubicBezTo>
                  <a:cubicBezTo>
                    <a:pt x="746784" y="2161766"/>
                    <a:pt x="819184" y="2159911"/>
                    <a:pt x="892245" y="2154988"/>
                  </a:cubicBezTo>
                  <a:cubicBezTo>
                    <a:pt x="1200474" y="2134220"/>
                    <a:pt x="1489708" y="2060934"/>
                    <a:pt x="1747358" y="1946850"/>
                  </a:cubicBezTo>
                  <a:lnTo>
                    <a:pt x="1784592" y="1927642"/>
                  </a:lnTo>
                  <a:lnTo>
                    <a:pt x="1803639" y="1920670"/>
                  </a:lnTo>
                  <a:cubicBezTo>
                    <a:pt x="2381854" y="1676106"/>
                    <a:pt x="2787569" y="1103566"/>
                    <a:pt x="2787569" y="436265"/>
                  </a:cubicBezTo>
                  <a:cubicBezTo>
                    <a:pt x="2787569" y="297244"/>
                    <a:pt x="2769960" y="162336"/>
                    <a:pt x="2736851" y="33650"/>
                  </a:cubicBezTo>
                  <a:lnTo>
                    <a:pt x="2725934" y="0"/>
                  </a:lnTo>
                  <a:lnTo>
                    <a:pt x="2757856" y="59446"/>
                  </a:lnTo>
                  <a:cubicBezTo>
                    <a:pt x="2878105" y="301043"/>
                    <a:pt x="2955915" y="550906"/>
                    <a:pt x="2993197" y="797111"/>
                  </a:cubicBezTo>
                  <a:lnTo>
                    <a:pt x="3010675" y="943939"/>
                  </a:lnTo>
                  <a:lnTo>
                    <a:pt x="1754363" y="3119936"/>
                  </a:lnTo>
                  <a:cubicBezTo>
                    <a:pt x="1651840" y="3297511"/>
                    <a:pt x="1467587" y="3398479"/>
                    <a:pt x="1276552" y="3402760"/>
                  </a:cubicBezTo>
                  <a:close/>
                </a:path>
              </a:pathLst>
            </a:custGeom>
            <a:solidFill>
              <a:srgbClr val="0066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" name="Forme libre : forme 86">
              <a:extLst>
                <a:ext uri="{FF2B5EF4-FFF2-40B4-BE49-F238E27FC236}">
                  <a16:creationId xmlns:a16="http://schemas.microsoft.com/office/drawing/2014/main" id="{4CFCBBF5-26D5-12E2-AAE9-E6C44903E60F}"/>
                </a:ext>
              </a:extLst>
            </p:cNvPr>
            <p:cNvSpPr/>
            <p:nvPr/>
          </p:nvSpPr>
          <p:spPr>
            <a:xfrm rot="10800000">
              <a:off x="6045584" y="1825178"/>
              <a:ext cx="2728084" cy="3664536"/>
            </a:xfrm>
            <a:custGeom>
              <a:avLst/>
              <a:gdLst>
                <a:gd name="connsiteX0" fmla="*/ 2433028 w 2728084"/>
                <a:gd name="connsiteY0" fmla="*/ 3664497 h 3664536"/>
                <a:gd name="connsiteX1" fmla="*/ 1667139 w 2728084"/>
                <a:gd name="connsiteY1" fmla="*/ 3550706 h 3664536"/>
                <a:gd name="connsiteX2" fmla="*/ 1627938 w 2728084"/>
                <a:gd name="connsiteY2" fmla="*/ 3536935 h 3664536"/>
                <a:gd name="connsiteX3" fmla="*/ 75889 w 2728084"/>
                <a:gd name="connsiteY3" fmla="*/ 848706 h 3664536"/>
                <a:gd name="connsiteX4" fmla="*/ 282965 w 2728084"/>
                <a:gd name="connsiteY4" fmla="*/ 75889 h 3664536"/>
                <a:gd name="connsiteX5" fmla="*/ 605209 w 2728084"/>
                <a:gd name="connsiteY5" fmla="*/ 1408 h 3664536"/>
                <a:gd name="connsiteX6" fmla="*/ 617009 w 2728084"/>
                <a:gd name="connsiteY6" fmla="*/ 3388 h 3664536"/>
                <a:gd name="connsiteX7" fmla="*/ 638918 w 2728084"/>
                <a:gd name="connsiteY7" fmla="*/ 1179 h 3664536"/>
                <a:gd name="connsiteX8" fmla="*/ 2464814 w 2728084"/>
                <a:gd name="connsiteY8" fmla="*/ 1179 h 3664536"/>
                <a:gd name="connsiteX9" fmla="*/ 2359655 w 2728084"/>
                <a:gd name="connsiteY9" fmla="*/ 66514 h 3664536"/>
                <a:gd name="connsiteX10" fmla="*/ 1709589 w 2728084"/>
                <a:gd name="connsiteY10" fmla="*/ 710959 h 3664536"/>
                <a:gd name="connsiteX11" fmla="*/ 1593426 w 2728084"/>
                <a:gd name="connsiteY11" fmla="*/ 894352 h 3664536"/>
                <a:gd name="connsiteX12" fmla="*/ 1258166 w 2728084"/>
                <a:gd name="connsiteY12" fmla="*/ 1996161 h 3664536"/>
                <a:gd name="connsiteX13" fmla="*/ 1257412 w 2728084"/>
                <a:gd name="connsiteY13" fmla="*/ 2053043 h 3664536"/>
                <a:gd name="connsiteX14" fmla="*/ 1267457 w 2728084"/>
                <a:gd name="connsiteY14" fmla="*/ 2058843 h 3664536"/>
                <a:gd name="connsiteX15" fmla="*/ 1274955 w 2728084"/>
                <a:gd name="connsiteY15" fmla="*/ 2207340 h 3664536"/>
                <a:gd name="connsiteX16" fmla="*/ 2712928 w 2728084"/>
                <a:gd name="connsiteY16" fmla="*/ 3645313 h 3664536"/>
                <a:gd name="connsiteX17" fmla="*/ 2728084 w 2728084"/>
                <a:gd name="connsiteY17" fmla="*/ 3646078 h 3664536"/>
                <a:gd name="connsiteX18" fmla="*/ 2596221 w 2728084"/>
                <a:gd name="connsiteY18" fmla="*/ 3658541 h 3664536"/>
                <a:gd name="connsiteX19" fmla="*/ 2433028 w 2728084"/>
                <a:gd name="connsiteY19" fmla="*/ 3664497 h 3664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28084" h="3664536">
                  <a:moveTo>
                    <a:pt x="2433028" y="3664497"/>
                  </a:moveTo>
                  <a:cubicBezTo>
                    <a:pt x="2163164" y="3665983"/>
                    <a:pt x="1904580" y="3625729"/>
                    <a:pt x="1667139" y="3550706"/>
                  </a:cubicBezTo>
                  <a:lnTo>
                    <a:pt x="1627938" y="3536935"/>
                  </a:lnTo>
                  <a:lnTo>
                    <a:pt x="75889" y="848706"/>
                  </a:lnTo>
                  <a:cubicBezTo>
                    <a:pt x="-80337" y="578116"/>
                    <a:pt x="12374" y="232114"/>
                    <a:pt x="282965" y="75889"/>
                  </a:cubicBezTo>
                  <a:cubicBezTo>
                    <a:pt x="384436" y="17304"/>
                    <a:pt x="496512" y="-6274"/>
                    <a:pt x="605209" y="1408"/>
                  </a:cubicBezTo>
                  <a:lnTo>
                    <a:pt x="617009" y="3388"/>
                  </a:lnTo>
                  <a:lnTo>
                    <a:pt x="638918" y="1179"/>
                  </a:lnTo>
                  <a:lnTo>
                    <a:pt x="2464814" y="1179"/>
                  </a:lnTo>
                  <a:lnTo>
                    <a:pt x="2359655" y="66514"/>
                  </a:lnTo>
                  <a:cubicBezTo>
                    <a:pt x="2116183" y="228981"/>
                    <a:pt x="1892995" y="446277"/>
                    <a:pt x="1709589" y="710959"/>
                  </a:cubicBezTo>
                  <a:cubicBezTo>
                    <a:pt x="1668832" y="769778"/>
                    <a:pt x="1630040" y="830935"/>
                    <a:pt x="1593426" y="894352"/>
                  </a:cubicBezTo>
                  <a:cubicBezTo>
                    <a:pt x="1387474" y="1251071"/>
                    <a:pt x="1277871" y="1631759"/>
                    <a:pt x="1258166" y="1996161"/>
                  </a:cubicBezTo>
                  <a:lnTo>
                    <a:pt x="1257412" y="2053043"/>
                  </a:lnTo>
                  <a:lnTo>
                    <a:pt x="1267457" y="2058843"/>
                  </a:lnTo>
                  <a:lnTo>
                    <a:pt x="1274955" y="2207340"/>
                  </a:lnTo>
                  <a:cubicBezTo>
                    <a:pt x="1351955" y="2965542"/>
                    <a:pt x="1954726" y="3568313"/>
                    <a:pt x="2712928" y="3645313"/>
                  </a:cubicBezTo>
                  <a:lnTo>
                    <a:pt x="2728084" y="3646078"/>
                  </a:lnTo>
                  <a:lnTo>
                    <a:pt x="2596221" y="3658541"/>
                  </a:lnTo>
                  <a:cubicBezTo>
                    <a:pt x="2541425" y="3662233"/>
                    <a:pt x="2487001" y="3664200"/>
                    <a:pt x="2433028" y="366449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6" name="Forme libre : forme 83">
              <a:extLst>
                <a:ext uri="{FF2B5EF4-FFF2-40B4-BE49-F238E27FC236}">
                  <a16:creationId xmlns:a16="http://schemas.microsoft.com/office/drawing/2014/main" id="{CFA0B52E-7A32-37D8-5B5D-6C8CC1C8B856}"/>
                </a:ext>
              </a:extLst>
            </p:cNvPr>
            <p:cNvSpPr/>
            <p:nvPr/>
          </p:nvSpPr>
          <p:spPr>
            <a:xfrm rot="10800000">
              <a:off x="3003612" y="3082426"/>
              <a:ext cx="4115889" cy="2407286"/>
            </a:xfrm>
            <a:custGeom>
              <a:avLst/>
              <a:gdLst>
                <a:gd name="connsiteX0" fmla="*/ 3140155 w 4115889"/>
                <a:gd name="connsiteY0" fmla="*/ 2407286 h 2407286"/>
                <a:gd name="connsiteX1" fmla="*/ 3116593 w 4115889"/>
                <a:gd name="connsiteY1" fmla="*/ 2262116 h 2407286"/>
                <a:gd name="connsiteX2" fmla="*/ 2921815 w 4115889"/>
                <a:gd name="connsiteY2" fmla="*/ 1671526 h 2407286"/>
                <a:gd name="connsiteX3" fmla="*/ 2821074 w 4115889"/>
                <a:gd name="connsiteY3" fmla="*/ 1479230 h 2407286"/>
                <a:gd name="connsiteX4" fmla="*/ 2034510 w 4115889"/>
                <a:gd name="connsiteY4" fmla="*/ 637981 h 2407286"/>
                <a:gd name="connsiteX5" fmla="*/ 1985626 w 4115889"/>
                <a:gd name="connsiteY5" fmla="*/ 608887 h 2407286"/>
                <a:gd name="connsiteX6" fmla="*/ 1970830 w 4115889"/>
                <a:gd name="connsiteY6" fmla="*/ 617430 h 2407286"/>
                <a:gd name="connsiteX7" fmla="*/ 1921914 w 4115889"/>
                <a:gd name="connsiteY7" fmla="*/ 590479 h 2407286"/>
                <a:gd name="connsiteX8" fmla="*/ 1223476 w 4115889"/>
                <a:gd name="connsiteY8" fmla="*/ 431616 h 2407286"/>
                <a:gd name="connsiteX9" fmla="*/ 98070 w 4115889"/>
                <a:gd name="connsiteY9" fmla="*/ 889885 h 2407286"/>
                <a:gd name="connsiteX10" fmla="*/ 0 w 4115889"/>
                <a:gd name="connsiteY10" fmla="*/ 996506 h 2407286"/>
                <a:gd name="connsiteX11" fmla="*/ 23021 w 4115889"/>
                <a:gd name="connsiteY11" fmla="*/ 954027 h 2407286"/>
                <a:gd name="connsiteX12" fmla="*/ 996421 w 4115889"/>
                <a:gd name="connsiteY12" fmla="*/ 3652 h 2407286"/>
                <a:gd name="connsiteX13" fmla="*/ 1001610 w 4115889"/>
                <a:gd name="connsiteY13" fmla="*/ 1177 h 2407286"/>
                <a:gd name="connsiteX14" fmla="*/ 3462202 w 4115889"/>
                <a:gd name="connsiteY14" fmla="*/ 1177 h 2407286"/>
                <a:gd name="connsiteX15" fmla="*/ 3493349 w 4115889"/>
                <a:gd name="connsiteY15" fmla="*/ 4317 h 2407286"/>
                <a:gd name="connsiteX16" fmla="*/ 3510680 w 4115889"/>
                <a:gd name="connsiteY16" fmla="*/ 1409 h 2407286"/>
                <a:gd name="connsiteX17" fmla="*/ 3832924 w 4115889"/>
                <a:gd name="connsiteY17" fmla="*/ 75890 h 2407286"/>
                <a:gd name="connsiteX18" fmla="*/ 4040000 w 4115889"/>
                <a:gd name="connsiteY18" fmla="*/ 848707 h 2407286"/>
                <a:gd name="connsiteX19" fmla="*/ 3140155 w 4115889"/>
                <a:gd name="connsiteY19" fmla="*/ 2407286 h 2407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15889" h="2407286">
                  <a:moveTo>
                    <a:pt x="3140155" y="2407286"/>
                  </a:moveTo>
                  <a:lnTo>
                    <a:pt x="3116593" y="2262116"/>
                  </a:lnTo>
                  <a:cubicBezTo>
                    <a:pt x="3078094" y="2064542"/>
                    <a:pt x="3013495" y="1865643"/>
                    <a:pt x="2921815" y="1671526"/>
                  </a:cubicBezTo>
                  <a:cubicBezTo>
                    <a:pt x="2891256" y="1606820"/>
                    <a:pt x="2857688" y="1542646"/>
                    <a:pt x="2821074" y="1479230"/>
                  </a:cubicBezTo>
                  <a:cubicBezTo>
                    <a:pt x="2615122" y="1122510"/>
                    <a:pt x="2340239" y="837247"/>
                    <a:pt x="2034510" y="637981"/>
                  </a:cubicBezTo>
                  <a:lnTo>
                    <a:pt x="1985626" y="608887"/>
                  </a:lnTo>
                  <a:lnTo>
                    <a:pt x="1970830" y="617430"/>
                  </a:lnTo>
                  <a:lnTo>
                    <a:pt x="1921914" y="590479"/>
                  </a:lnTo>
                  <a:cubicBezTo>
                    <a:pt x="1710626" y="488670"/>
                    <a:pt x="1473714" y="431616"/>
                    <a:pt x="1223476" y="431616"/>
                  </a:cubicBezTo>
                  <a:cubicBezTo>
                    <a:pt x="785561" y="431616"/>
                    <a:pt x="388454" y="606343"/>
                    <a:pt x="98070" y="889885"/>
                  </a:cubicBezTo>
                  <a:lnTo>
                    <a:pt x="0" y="996506"/>
                  </a:lnTo>
                  <a:lnTo>
                    <a:pt x="23021" y="954027"/>
                  </a:lnTo>
                  <a:cubicBezTo>
                    <a:pt x="270163" y="525964"/>
                    <a:pt x="616566" y="200798"/>
                    <a:pt x="996421" y="3652"/>
                  </a:cubicBezTo>
                  <a:lnTo>
                    <a:pt x="1001610" y="1177"/>
                  </a:lnTo>
                  <a:lnTo>
                    <a:pt x="3462202" y="1177"/>
                  </a:lnTo>
                  <a:lnTo>
                    <a:pt x="3493349" y="4317"/>
                  </a:lnTo>
                  <a:lnTo>
                    <a:pt x="3510680" y="1409"/>
                  </a:lnTo>
                  <a:cubicBezTo>
                    <a:pt x="3619377" y="-6273"/>
                    <a:pt x="3731453" y="17305"/>
                    <a:pt x="3832924" y="75890"/>
                  </a:cubicBezTo>
                  <a:cubicBezTo>
                    <a:pt x="4103515" y="232115"/>
                    <a:pt x="4196226" y="578117"/>
                    <a:pt x="4040000" y="848707"/>
                  </a:cubicBezTo>
                  <a:lnTo>
                    <a:pt x="3140155" y="2407286"/>
                  </a:lnTo>
                  <a:close/>
                </a:path>
              </a:pathLst>
            </a:custGeom>
            <a:solidFill>
              <a:srgbClr val="FAC7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11" name="TextBox 37">
            <a:extLst>
              <a:ext uri="{FF2B5EF4-FFF2-40B4-BE49-F238E27FC236}">
                <a16:creationId xmlns:a16="http://schemas.microsoft.com/office/drawing/2014/main" id="{5A8723AF-2FA0-91D9-6980-6FCB8166F194}"/>
              </a:ext>
            </a:extLst>
          </p:cNvPr>
          <p:cNvSpPr txBox="1"/>
          <p:nvPr/>
        </p:nvSpPr>
        <p:spPr>
          <a:xfrm>
            <a:off x="1186720" y="3421094"/>
            <a:ext cx="2806575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Beni per autoproduzione e autoconsumo energia da fonti rinnovabili 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80" name="Gruppo 79">
            <a:extLst>
              <a:ext uri="{FF2B5EF4-FFF2-40B4-BE49-F238E27FC236}">
                <a16:creationId xmlns:a16="http://schemas.microsoft.com/office/drawing/2014/main" id="{F5CBB6BB-527F-45B8-BA17-82FBE1CA82CB}"/>
              </a:ext>
            </a:extLst>
          </p:cNvPr>
          <p:cNvGrpSpPr/>
          <p:nvPr/>
        </p:nvGrpSpPr>
        <p:grpSpPr>
          <a:xfrm>
            <a:off x="0" y="5969746"/>
            <a:ext cx="12192000" cy="900641"/>
            <a:chOff x="0" y="8954619"/>
            <a:chExt cx="18288000" cy="1350961"/>
          </a:xfrm>
        </p:grpSpPr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2267514F-3776-4078-5CC7-4C5D13E0499F}"/>
                </a:ext>
              </a:extLst>
            </p:cNvPr>
            <p:cNvSpPr/>
            <p:nvPr/>
          </p:nvSpPr>
          <p:spPr>
            <a:xfrm>
              <a:off x="0" y="8954619"/>
              <a:ext cx="18288000" cy="1350961"/>
            </a:xfrm>
            <a:prstGeom prst="rect">
              <a:avLst/>
            </a:prstGeom>
            <a:solidFill>
              <a:srgbClr val="0066CC"/>
            </a:solidFill>
          </p:spPr>
          <p:txBody>
            <a:bodyPr/>
            <a:lstStyle/>
            <a:p>
              <a:endParaRPr lang="it-IT" sz="1200" dirty="0"/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86A05D2A-18E8-8993-155C-BC4CEAA9FAAA}"/>
                </a:ext>
              </a:extLst>
            </p:cNvPr>
            <p:cNvSpPr/>
            <p:nvPr/>
          </p:nvSpPr>
          <p:spPr>
            <a:xfrm>
              <a:off x="1395421" y="9105860"/>
              <a:ext cx="3773510" cy="1058526"/>
            </a:xfrm>
            <a:custGeom>
              <a:avLst/>
              <a:gdLst/>
              <a:ahLst/>
              <a:cxnLst/>
              <a:rect l="l" t="t" r="r" b="b"/>
              <a:pathLst>
                <a:path w="3773510" h="1058526">
                  <a:moveTo>
                    <a:pt x="0" y="0"/>
                  </a:moveTo>
                  <a:lnTo>
                    <a:pt x="3773510" y="0"/>
                  </a:lnTo>
                  <a:lnTo>
                    <a:pt x="3773510" y="1058526"/>
                  </a:lnTo>
                  <a:lnTo>
                    <a:pt x="0" y="105852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</p:spPr>
          <p:txBody>
            <a:bodyPr/>
            <a:lstStyle/>
            <a:p>
              <a:endParaRPr lang="it-IT" sz="1200"/>
            </a:p>
          </p:txBody>
        </p:sp>
        <p:sp>
          <p:nvSpPr>
            <p:cNvPr id="22" name="TextBox 5">
              <a:extLst>
                <a:ext uri="{FF2B5EF4-FFF2-40B4-BE49-F238E27FC236}">
                  <a16:creationId xmlns:a16="http://schemas.microsoft.com/office/drawing/2014/main" id="{05442FDD-2591-3FD5-6FEA-A5117CDE0A71}"/>
                </a:ext>
              </a:extLst>
            </p:cNvPr>
            <p:cNvSpPr txBox="1"/>
            <p:nvPr/>
          </p:nvSpPr>
          <p:spPr>
            <a:xfrm>
              <a:off x="7946393" y="9285034"/>
              <a:ext cx="9720788" cy="3349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1710"/>
                </a:lnSpc>
              </a:pPr>
              <a:endParaRPr lang="en-US" sz="1555" dirty="0">
                <a:solidFill>
                  <a:srgbClr val="FFFFFF"/>
                </a:solidFill>
                <a:latin typeface="Titillium Web Bold"/>
              </a:endParaRPr>
            </a:p>
          </p:txBody>
        </p:sp>
      </p:grpSp>
      <p:sp>
        <p:nvSpPr>
          <p:cNvPr id="25" name="Sustainable_Energ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4C2926-E39A-9EB0-AC94-DF071B9B8DDF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500655" y="4976468"/>
            <a:ext cx="828063" cy="368986"/>
          </a:xfrm>
          <a:custGeom>
            <a:avLst/>
            <a:gdLst>
              <a:gd name="T0" fmla="*/ 972 w 1250"/>
              <a:gd name="T1" fmla="*/ 0 h 556"/>
              <a:gd name="T2" fmla="*/ 776 w 1250"/>
              <a:gd name="T3" fmla="*/ 81 h 556"/>
              <a:gd name="T4" fmla="*/ 425 w 1250"/>
              <a:gd name="T5" fmla="*/ 425 h 556"/>
              <a:gd name="T6" fmla="*/ 278 w 1250"/>
              <a:gd name="T7" fmla="*/ 486 h 556"/>
              <a:gd name="T8" fmla="*/ 69 w 1250"/>
              <a:gd name="T9" fmla="*/ 278 h 556"/>
              <a:gd name="T10" fmla="*/ 278 w 1250"/>
              <a:gd name="T11" fmla="*/ 69 h 556"/>
              <a:gd name="T12" fmla="*/ 425 w 1250"/>
              <a:gd name="T13" fmla="*/ 131 h 556"/>
              <a:gd name="T14" fmla="*/ 461 w 1250"/>
              <a:gd name="T15" fmla="*/ 165 h 556"/>
              <a:gd name="T16" fmla="*/ 451 w 1250"/>
              <a:gd name="T17" fmla="*/ 208 h 556"/>
              <a:gd name="T18" fmla="*/ 482 w 1250"/>
              <a:gd name="T19" fmla="*/ 282 h 556"/>
              <a:gd name="T20" fmla="*/ 629 w 1250"/>
              <a:gd name="T21" fmla="*/ 135 h 556"/>
              <a:gd name="T22" fmla="*/ 556 w 1250"/>
              <a:gd name="T23" fmla="*/ 104 h 556"/>
              <a:gd name="T24" fmla="*/ 509 w 1250"/>
              <a:gd name="T25" fmla="*/ 115 h 556"/>
              <a:gd name="T26" fmla="*/ 474 w 1250"/>
              <a:gd name="T27" fmla="*/ 81 h 556"/>
              <a:gd name="T28" fmla="*/ 278 w 1250"/>
              <a:gd name="T29" fmla="*/ 0 h 556"/>
              <a:gd name="T30" fmla="*/ 0 w 1250"/>
              <a:gd name="T31" fmla="*/ 278 h 556"/>
              <a:gd name="T32" fmla="*/ 278 w 1250"/>
              <a:gd name="T33" fmla="*/ 556 h 556"/>
              <a:gd name="T34" fmla="*/ 474 w 1250"/>
              <a:gd name="T35" fmla="*/ 474 h 556"/>
              <a:gd name="T36" fmla="*/ 825 w 1250"/>
              <a:gd name="T37" fmla="*/ 131 h 556"/>
              <a:gd name="T38" fmla="*/ 972 w 1250"/>
              <a:gd name="T39" fmla="*/ 69 h 556"/>
              <a:gd name="T40" fmla="*/ 1181 w 1250"/>
              <a:gd name="T41" fmla="*/ 278 h 556"/>
              <a:gd name="T42" fmla="*/ 972 w 1250"/>
              <a:gd name="T43" fmla="*/ 486 h 556"/>
              <a:gd name="T44" fmla="*/ 861 w 1250"/>
              <a:gd name="T45" fmla="*/ 454 h 556"/>
              <a:gd name="T46" fmla="*/ 868 w 1250"/>
              <a:gd name="T47" fmla="*/ 417 h 556"/>
              <a:gd name="T48" fmla="*/ 838 w 1250"/>
              <a:gd name="T49" fmla="*/ 343 h 556"/>
              <a:gd name="T50" fmla="*/ 811 w 1250"/>
              <a:gd name="T51" fmla="*/ 370 h 556"/>
              <a:gd name="T52" fmla="*/ 741 w 1250"/>
              <a:gd name="T53" fmla="*/ 300 h 556"/>
              <a:gd name="T54" fmla="*/ 717 w 1250"/>
              <a:gd name="T55" fmla="*/ 325 h 556"/>
              <a:gd name="T56" fmla="*/ 786 w 1250"/>
              <a:gd name="T57" fmla="*/ 394 h 556"/>
              <a:gd name="T58" fmla="*/ 741 w 1250"/>
              <a:gd name="T59" fmla="*/ 439 h 556"/>
              <a:gd name="T60" fmla="*/ 672 w 1250"/>
              <a:gd name="T61" fmla="*/ 370 h 556"/>
              <a:gd name="T62" fmla="*/ 647 w 1250"/>
              <a:gd name="T63" fmla="*/ 394 h 556"/>
              <a:gd name="T64" fmla="*/ 717 w 1250"/>
              <a:gd name="T65" fmla="*/ 464 h 556"/>
              <a:gd name="T66" fmla="*/ 690 w 1250"/>
              <a:gd name="T67" fmla="*/ 490 h 556"/>
              <a:gd name="T68" fmla="*/ 764 w 1250"/>
              <a:gd name="T69" fmla="*/ 521 h 556"/>
              <a:gd name="T70" fmla="*/ 816 w 1250"/>
              <a:gd name="T71" fmla="*/ 507 h 556"/>
              <a:gd name="T72" fmla="*/ 972 w 1250"/>
              <a:gd name="T73" fmla="*/ 556 h 556"/>
              <a:gd name="T74" fmla="*/ 1250 w 1250"/>
              <a:gd name="T75" fmla="*/ 278 h 556"/>
              <a:gd name="T76" fmla="*/ 972 w 1250"/>
              <a:gd name="T77" fmla="*/ 0 h 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50" h="556">
                <a:moveTo>
                  <a:pt x="972" y="0"/>
                </a:moveTo>
                <a:cubicBezTo>
                  <a:pt x="896" y="0"/>
                  <a:pt x="826" y="31"/>
                  <a:pt x="776" y="81"/>
                </a:cubicBezTo>
                <a:lnTo>
                  <a:pt x="425" y="425"/>
                </a:lnTo>
                <a:cubicBezTo>
                  <a:pt x="387" y="463"/>
                  <a:pt x="335" y="486"/>
                  <a:pt x="278" y="486"/>
                </a:cubicBezTo>
                <a:cubicBezTo>
                  <a:pt x="163" y="486"/>
                  <a:pt x="69" y="393"/>
                  <a:pt x="69" y="278"/>
                </a:cubicBezTo>
                <a:cubicBezTo>
                  <a:pt x="69" y="163"/>
                  <a:pt x="163" y="69"/>
                  <a:pt x="278" y="69"/>
                </a:cubicBezTo>
                <a:cubicBezTo>
                  <a:pt x="335" y="69"/>
                  <a:pt x="387" y="93"/>
                  <a:pt x="425" y="131"/>
                </a:cubicBezTo>
                <a:lnTo>
                  <a:pt x="461" y="165"/>
                </a:lnTo>
                <a:cubicBezTo>
                  <a:pt x="455" y="179"/>
                  <a:pt x="451" y="193"/>
                  <a:pt x="451" y="208"/>
                </a:cubicBezTo>
                <a:cubicBezTo>
                  <a:pt x="451" y="237"/>
                  <a:pt x="463" y="263"/>
                  <a:pt x="482" y="282"/>
                </a:cubicBezTo>
                <a:lnTo>
                  <a:pt x="629" y="135"/>
                </a:lnTo>
                <a:cubicBezTo>
                  <a:pt x="610" y="116"/>
                  <a:pt x="584" y="104"/>
                  <a:pt x="556" y="104"/>
                </a:cubicBezTo>
                <a:cubicBezTo>
                  <a:pt x="539" y="104"/>
                  <a:pt x="523" y="108"/>
                  <a:pt x="509" y="115"/>
                </a:cubicBezTo>
                <a:lnTo>
                  <a:pt x="474" y="81"/>
                </a:lnTo>
                <a:cubicBezTo>
                  <a:pt x="424" y="31"/>
                  <a:pt x="354" y="0"/>
                  <a:pt x="278" y="0"/>
                </a:cubicBezTo>
                <a:cubicBezTo>
                  <a:pt x="125" y="0"/>
                  <a:pt x="0" y="125"/>
                  <a:pt x="0" y="278"/>
                </a:cubicBezTo>
                <a:cubicBezTo>
                  <a:pt x="0" y="431"/>
                  <a:pt x="125" y="556"/>
                  <a:pt x="278" y="556"/>
                </a:cubicBezTo>
                <a:cubicBezTo>
                  <a:pt x="354" y="556"/>
                  <a:pt x="424" y="524"/>
                  <a:pt x="474" y="474"/>
                </a:cubicBezTo>
                <a:lnTo>
                  <a:pt x="825" y="131"/>
                </a:lnTo>
                <a:cubicBezTo>
                  <a:pt x="863" y="93"/>
                  <a:pt x="915" y="69"/>
                  <a:pt x="972" y="69"/>
                </a:cubicBezTo>
                <a:cubicBezTo>
                  <a:pt x="1087" y="69"/>
                  <a:pt x="1181" y="163"/>
                  <a:pt x="1181" y="278"/>
                </a:cubicBezTo>
                <a:cubicBezTo>
                  <a:pt x="1181" y="393"/>
                  <a:pt x="1087" y="486"/>
                  <a:pt x="972" y="486"/>
                </a:cubicBezTo>
                <a:cubicBezTo>
                  <a:pt x="931" y="486"/>
                  <a:pt x="893" y="474"/>
                  <a:pt x="861" y="454"/>
                </a:cubicBezTo>
                <a:cubicBezTo>
                  <a:pt x="866" y="442"/>
                  <a:pt x="868" y="430"/>
                  <a:pt x="868" y="417"/>
                </a:cubicBezTo>
                <a:cubicBezTo>
                  <a:pt x="868" y="388"/>
                  <a:pt x="856" y="362"/>
                  <a:pt x="838" y="343"/>
                </a:cubicBezTo>
                <a:lnTo>
                  <a:pt x="811" y="370"/>
                </a:lnTo>
                <a:lnTo>
                  <a:pt x="741" y="300"/>
                </a:lnTo>
                <a:lnTo>
                  <a:pt x="717" y="325"/>
                </a:lnTo>
                <a:lnTo>
                  <a:pt x="786" y="394"/>
                </a:lnTo>
                <a:lnTo>
                  <a:pt x="741" y="439"/>
                </a:lnTo>
                <a:lnTo>
                  <a:pt x="672" y="370"/>
                </a:lnTo>
                <a:lnTo>
                  <a:pt x="647" y="394"/>
                </a:lnTo>
                <a:lnTo>
                  <a:pt x="717" y="464"/>
                </a:lnTo>
                <a:lnTo>
                  <a:pt x="690" y="490"/>
                </a:lnTo>
                <a:cubicBezTo>
                  <a:pt x="709" y="509"/>
                  <a:pt x="735" y="521"/>
                  <a:pt x="764" y="521"/>
                </a:cubicBezTo>
                <a:cubicBezTo>
                  <a:pt x="783" y="521"/>
                  <a:pt x="800" y="516"/>
                  <a:pt x="816" y="507"/>
                </a:cubicBezTo>
                <a:cubicBezTo>
                  <a:pt x="860" y="538"/>
                  <a:pt x="914" y="556"/>
                  <a:pt x="972" y="556"/>
                </a:cubicBezTo>
                <a:cubicBezTo>
                  <a:pt x="1125" y="556"/>
                  <a:pt x="1250" y="431"/>
                  <a:pt x="1250" y="278"/>
                </a:cubicBezTo>
                <a:cubicBezTo>
                  <a:pt x="1250" y="125"/>
                  <a:pt x="1125" y="0"/>
                  <a:pt x="972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3"/>
            </a:solidFill>
            <a:prstDash val="solid"/>
            <a:round/>
            <a:headEnd/>
            <a:tailEnd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pPr defTabSz="609630">
              <a:defRPr/>
            </a:pP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26" name="Technolog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877611C-67EB-1455-D9A2-130800F7CB83}"/>
              </a:ext>
            </a:extLst>
          </p:cNvPr>
          <p:cNvGrpSpPr>
            <a:grpSpLocks noChangeAspect="1"/>
          </p:cNvGrpSpPr>
          <p:nvPr/>
        </p:nvGrpSpPr>
        <p:grpSpPr>
          <a:xfrm>
            <a:off x="6044281" y="2239927"/>
            <a:ext cx="502708" cy="491067"/>
            <a:chOff x="2344738" y="5734051"/>
            <a:chExt cx="754063" cy="736600"/>
          </a:xfrm>
          <a:solidFill>
            <a:srgbClr val="4A7BB5"/>
          </a:solidFill>
        </p:grpSpPr>
        <p:sp>
          <p:nvSpPr>
            <p:cNvPr id="27" name="Oval 471">
              <a:extLst>
                <a:ext uri="{FF2B5EF4-FFF2-40B4-BE49-F238E27FC236}">
                  <a16:creationId xmlns:a16="http://schemas.microsoft.com/office/drawing/2014/main" id="{3BC5E1A0-89B7-F2B9-2591-05D98F8F7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5601" y="6399213"/>
              <a:ext cx="65088" cy="666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Oval 472">
              <a:extLst>
                <a:ext uri="{FF2B5EF4-FFF2-40B4-BE49-F238E27FC236}">
                  <a16:creationId xmlns:a16="http://schemas.microsoft.com/office/drawing/2014/main" id="{BD802300-3061-707C-B17C-E13E55F74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0526" y="6070601"/>
              <a:ext cx="65088" cy="6508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Oval 473">
              <a:extLst>
                <a:ext uri="{FF2B5EF4-FFF2-40B4-BE49-F238E27FC236}">
                  <a16:creationId xmlns:a16="http://schemas.microsoft.com/office/drawing/2014/main" id="{5625FA37-7525-2D86-0833-AF377B1AB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5601" y="5740401"/>
              <a:ext cx="65088" cy="6508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Oval 474">
              <a:extLst>
                <a:ext uri="{FF2B5EF4-FFF2-40B4-BE49-F238E27FC236}">
                  <a16:creationId xmlns:a16="http://schemas.microsoft.com/office/drawing/2014/main" id="{55775707-E53A-72DA-E522-84B162A82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701" y="6294438"/>
              <a:ext cx="65088" cy="66675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Oval 475">
              <a:extLst>
                <a:ext uri="{FF2B5EF4-FFF2-40B4-BE49-F238E27FC236}">
                  <a16:creationId xmlns:a16="http://schemas.microsoft.com/office/drawing/2014/main" id="{0799606F-E270-AEEF-EE58-7CEB4F395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701" y="5845176"/>
              <a:ext cx="65088" cy="6508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Oval 476">
              <a:extLst>
                <a:ext uri="{FF2B5EF4-FFF2-40B4-BE49-F238E27FC236}">
                  <a16:creationId xmlns:a16="http://schemas.microsoft.com/office/drawing/2014/main" id="{136E1216-E8AE-566A-62E5-4BD67577C9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363" y="5891213"/>
              <a:ext cx="65088" cy="6508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3" name="Oval 477">
              <a:extLst>
                <a:ext uri="{FF2B5EF4-FFF2-40B4-BE49-F238E27FC236}">
                  <a16:creationId xmlns:a16="http://schemas.microsoft.com/office/drawing/2014/main" id="{37B27049-B3F9-6106-DDA1-EC5DC3878E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7363" y="6246813"/>
              <a:ext cx="65088" cy="6508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4" name="Freeform 478">
              <a:extLst>
                <a:ext uri="{FF2B5EF4-FFF2-40B4-BE49-F238E27FC236}">
                  <a16:creationId xmlns:a16="http://schemas.microsoft.com/office/drawing/2014/main" id="{AE180CCA-6067-CE5E-3546-A6F2563FD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9501" y="5756276"/>
              <a:ext cx="352425" cy="704850"/>
            </a:xfrm>
            <a:custGeom>
              <a:avLst/>
              <a:gdLst>
                <a:gd name="T0" fmla="*/ 522 w 522"/>
                <a:gd name="T1" fmla="*/ 0 h 1043"/>
                <a:gd name="T2" fmla="*/ 462 w 522"/>
                <a:gd name="T3" fmla="*/ 0 h 1043"/>
                <a:gd name="T4" fmla="*/ 417 w 522"/>
                <a:gd name="T5" fmla="*/ 46 h 1043"/>
                <a:gd name="T6" fmla="*/ 417 w 522"/>
                <a:gd name="T7" fmla="*/ 79 h 1043"/>
                <a:gd name="T8" fmla="*/ 382 w 522"/>
                <a:gd name="T9" fmla="*/ 128 h 1043"/>
                <a:gd name="T10" fmla="*/ 340 w 522"/>
                <a:gd name="T11" fmla="*/ 145 h 1043"/>
                <a:gd name="T12" fmla="*/ 284 w 522"/>
                <a:gd name="T13" fmla="*/ 135 h 1043"/>
                <a:gd name="T14" fmla="*/ 263 w 522"/>
                <a:gd name="T15" fmla="*/ 114 h 1043"/>
                <a:gd name="T16" fmla="*/ 195 w 522"/>
                <a:gd name="T17" fmla="*/ 111 h 1043"/>
                <a:gd name="T18" fmla="*/ 111 w 522"/>
                <a:gd name="T19" fmla="*/ 195 h 1043"/>
                <a:gd name="T20" fmla="*/ 111 w 522"/>
                <a:gd name="T21" fmla="*/ 260 h 1043"/>
                <a:gd name="T22" fmla="*/ 134 w 522"/>
                <a:gd name="T23" fmla="*/ 283 h 1043"/>
                <a:gd name="T24" fmla="*/ 145 w 522"/>
                <a:gd name="T25" fmla="*/ 341 h 1043"/>
                <a:gd name="T26" fmla="*/ 128 w 522"/>
                <a:gd name="T27" fmla="*/ 382 h 1043"/>
                <a:gd name="T28" fmla="*/ 79 w 522"/>
                <a:gd name="T29" fmla="*/ 417 h 1043"/>
                <a:gd name="T30" fmla="*/ 46 w 522"/>
                <a:gd name="T31" fmla="*/ 417 h 1043"/>
                <a:gd name="T32" fmla="*/ 0 w 522"/>
                <a:gd name="T33" fmla="*/ 462 h 1043"/>
                <a:gd name="T34" fmla="*/ 0 w 522"/>
                <a:gd name="T35" fmla="*/ 581 h 1043"/>
                <a:gd name="T36" fmla="*/ 46 w 522"/>
                <a:gd name="T37" fmla="*/ 627 h 1043"/>
                <a:gd name="T38" fmla="*/ 79 w 522"/>
                <a:gd name="T39" fmla="*/ 627 h 1043"/>
                <a:gd name="T40" fmla="*/ 128 w 522"/>
                <a:gd name="T41" fmla="*/ 661 h 1043"/>
                <a:gd name="T42" fmla="*/ 145 w 522"/>
                <a:gd name="T43" fmla="*/ 703 h 1043"/>
                <a:gd name="T44" fmla="*/ 135 w 522"/>
                <a:gd name="T45" fmla="*/ 759 h 1043"/>
                <a:gd name="T46" fmla="*/ 114 w 522"/>
                <a:gd name="T47" fmla="*/ 780 h 1043"/>
                <a:gd name="T48" fmla="*/ 111 w 522"/>
                <a:gd name="T49" fmla="*/ 848 h 1043"/>
                <a:gd name="T50" fmla="*/ 195 w 522"/>
                <a:gd name="T51" fmla="*/ 932 h 1043"/>
                <a:gd name="T52" fmla="*/ 260 w 522"/>
                <a:gd name="T53" fmla="*/ 932 h 1043"/>
                <a:gd name="T54" fmla="*/ 283 w 522"/>
                <a:gd name="T55" fmla="*/ 909 h 1043"/>
                <a:gd name="T56" fmla="*/ 341 w 522"/>
                <a:gd name="T57" fmla="*/ 898 h 1043"/>
                <a:gd name="T58" fmla="*/ 384 w 522"/>
                <a:gd name="T59" fmla="*/ 916 h 1043"/>
                <a:gd name="T60" fmla="*/ 417 w 522"/>
                <a:gd name="T61" fmla="*/ 963 h 1043"/>
                <a:gd name="T62" fmla="*/ 417 w 522"/>
                <a:gd name="T63" fmla="*/ 993 h 1043"/>
                <a:gd name="T64" fmla="*/ 462 w 522"/>
                <a:gd name="T65" fmla="*/ 1043 h 1043"/>
                <a:gd name="T66" fmla="*/ 522 w 522"/>
                <a:gd name="T67" fmla="*/ 1043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22" h="1043">
                  <a:moveTo>
                    <a:pt x="522" y="0"/>
                  </a:moveTo>
                  <a:lnTo>
                    <a:pt x="462" y="0"/>
                  </a:lnTo>
                  <a:cubicBezTo>
                    <a:pt x="437" y="0"/>
                    <a:pt x="417" y="21"/>
                    <a:pt x="417" y="46"/>
                  </a:cubicBezTo>
                  <a:lnTo>
                    <a:pt x="417" y="79"/>
                  </a:lnTo>
                  <a:cubicBezTo>
                    <a:pt x="417" y="101"/>
                    <a:pt x="403" y="120"/>
                    <a:pt x="382" y="128"/>
                  </a:cubicBezTo>
                  <a:cubicBezTo>
                    <a:pt x="368" y="133"/>
                    <a:pt x="354" y="139"/>
                    <a:pt x="340" y="145"/>
                  </a:cubicBezTo>
                  <a:cubicBezTo>
                    <a:pt x="321" y="154"/>
                    <a:pt x="299" y="150"/>
                    <a:pt x="284" y="135"/>
                  </a:cubicBezTo>
                  <a:lnTo>
                    <a:pt x="263" y="114"/>
                  </a:lnTo>
                  <a:cubicBezTo>
                    <a:pt x="242" y="93"/>
                    <a:pt x="213" y="93"/>
                    <a:pt x="195" y="111"/>
                  </a:cubicBezTo>
                  <a:lnTo>
                    <a:pt x="111" y="195"/>
                  </a:lnTo>
                  <a:cubicBezTo>
                    <a:pt x="93" y="213"/>
                    <a:pt x="93" y="242"/>
                    <a:pt x="111" y="260"/>
                  </a:cubicBezTo>
                  <a:lnTo>
                    <a:pt x="134" y="283"/>
                  </a:lnTo>
                  <a:cubicBezTo>
                    <a:pt x="150" y="298"/>
                    <a:pt x="154" y="322"/>
                    <a:pt x="145" y="341"/>
                  </a:cubicBezTo>
                  <a:cubicBezTo>
                    <a:pt x="138" y="355"/>
                    <a:pt x="133" y="368"/>
                    <a:pt x="128" y="382"/>
                  </a:cubicBezTo>
                  <a:cubicBezTo>
                    <a:pt x="120" y="403"/>
                    <a:pt x="101" y="417"/>
                    <a:pt x="79" y="417"/>
                  </a:cubicBezTo>
                  <a:lnTo>
                    <a:pt x="46" y="417"/>
                  </a:lnTo>
                  <a:cubicBezTo>
                    <a:pt x="21" y="417"/>
                    <a:pt x="0" y="437"/>
                    <a:pt x="0" y="462"/>
                  </a:cubicBezTo>
                  <a:lnTo>
                    <a:pt x="0" y="581"/>
                  </a:lnTo>
                  <a:cubicBezTo>
                    <a:pt x="0" y="606"/>
                    <a:pt x="21" y="627"/>
                    <a:pt x="46" y="627"/>
                  </a:cubicBezTo>
                  <a:lnTo>
                    <a:pt x="79" y="627"/>
                  </a:lnTo>
                  <a:cubicBezTo>
                    <a:pt x="101" y="627"/>
                    <a:pt x="120" y="640"/>
                    <a:pt x="128" y="661"/>
                  </a:cubicBezTo>
                  <a:cubicBezTo>
                    <a:pt x="133" y="675"/>
                    <a:pt x="139" y="689"/>
                    <a:pt x="145" y="703"/>
                  </a:cubicBezTo>
                  <a:cubicBezTo>
                    <a:pt x="154" y="722"/>
                    <a:pt x="150" y="744"/>
                    <a:pt x="135" y="759"/>
                  </a:cubicBezTo>
                  <a:lnTo>
                    <a:pt x="114" y="780"/>
                  </a:lnTo>
                  <a:cubicBezTo>
                    <a:pt x="93" y="801"/>
                    <a:pt x="93" y="830"/>
                    <a:pt x="111" y="848"/>
                  </a:cubicBezTo>
                  <a:lnTo>
                    <a:pt x="195" y="932"/>
                  </a:lnTo>
                  <a:cubicBezTo>
                    <a:pt x="213" y="950"/>
                    <a:pt x="242" y="950"/>
                    <a:pt x="260" y="932"/>
                  </a:cubicBezTo>
                  <a:lnTo>
                    <a:pt x="283" y="909"/>
                  </a:lnTo>
                  <a:cubicBezTo>
                    <a:pt x="298" y="893"/>
                    <a:pt x="322" y="889"/>
                    <a:pt x="341" y="898"/>
                  </a:cubicBezTo>
                  <a:cubicBezTo>
                    <a:pt x="355" y="905"/>
                    <a:pt x="369" y="911"/>
                    <a:pt x="384" y="916"/>
                  </a:cubicBezTo>
                  <a:cubicBezTo>
                    <a:pt x="404" y="923"/>
                    <a:pt x="417" y="942"/>
                    <a:pt x="417" y="963"/>
                  </a:cubicBezTo>
                  <a:lnTo>
                    <a:pt x="417" y="993"/>
                  </a:lnTo>
                  <a:cubicBezTo>
                    <a:pt x="417" y="1022"/>
                    <a:pt x="437" y="1043"/>
                    <a:pt x="462" y="1043"/>
                  </a:cubicBezTo>
                  <a:lnTo>
                    <a:pt x="522" y="1043"/>
                  </a:ln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5" name="Freeform 480">
              <a:extLst>
                <a:ext uri="{FF2B5EF4-FFF2-40B4-BE49-F238E27FC236}">
                  <a16:creationId xmlns:a16="http://schemas.microsoft.com/office/drawing/2014/main" id="{4A0EEF5B-410B-0BF8-D6C7-BC9E26E8F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238" y="6208713"/>
              <a:ext cx="144463" cy="123825"/>
            </a:xfrm>
            <a:custGeom>
              <a:avLst/>
              <a:gdLst>
                <a:gd name="T0" fmla="*/ 214 w 214"/>
                <a:gd name="T1" fmla="*/ 183 h 183"/>
                <a:gd name="T2" fmla="*/ 168 w 214"/>
                <a:gd name="T3" fmla="*/ 183 h 183"/>
                <a:gd name="T4" fmla="*/ 112 w 214"/>
                <a:gd name="T5" fmla="*/ 128 h 183"/>
                <a:gd name="T6" fmla="*/ 112 w 214"/>
                <a:gd name="T7" fmla="*/ 55 h 183"/>
                <a:gd name="T8" fmla="*/ 73 w 214"/>
                <a:gd name="T9" fmla="*/ 16 h 183"/>
                <a:gd name="T10" fmla="*/ 0 w 214"/>
                <a:gd name="T11" fmla="*/ 16 h 183"/>
                <a:gd name="T12" fmla="*/ 0 w 214"/>
                <a:gd name="T13" fmla="*/ 0 h 183"/>
                <a:gd name="T14" fmla="*/ 73 w 214"/>
                <a:gd name="T15" fmla="*/ 0 h 183"/>
                <a:gd name="T16" fmla="*/ 129 w 214"/>
                <a:gd name="T17" fmla="*/ 55 h 183"/>
                <a:gd name="T18" fmla="*/ 129 w 214"/>
                <a:gd name="T19" fmla="*/ 128 h 183"/>
                <a:gd name="T20" fmla="*/ 168 w 214"/>
                <a:gd name="T21" fmla="*/ 167 h 183"/>
                <a:gd name="T22" fmla="*/ 214 w 214"/>
                <a:gd name="T23" fmla="*/ 167 h 183"/>
                <a:gd name="T24" fmla="*/ 214 w 214"/>
                <a:gd name="T25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3">
                  <a:moveTo>
                    <a:pt x="214" y="183"/>
                  </a:moveTo>
                  <a:lnTo>
                    <a:pt x="168" y="183"/>
                  </a:lnTo>
                  <a:cubicBezTo>
                    <a:pt x="137" y="183"/>
                    <a:pt x="112" y="158"/>
                    <a:pt x="112" y="128"/>
                  </a:cubicBezTo>
                  <a:lnTo>
                    <a:pt x="112" y="55"/>
                  </a:lnTo>
                  <a:cubicBezTo>
                    <a:pt x="112" y="34"/>
                    <a:pt x="95" y="16"/>
                    <a:pt x="73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73" y="0"/>
                  </a:lnTo>
                  <a:cubicBezTo>
                    <a:pt x="104" y="0"/>
                    <a:pt x="129" y="25"/>
                    <a:pt x="129" y="55"/>
                  </a:cubicBezTo>
                  <a:lnTo>
                    <a:pt x="129" y="128"/>
                  </a:lnTo>
                  <a:cubicBezTo>
                    <a:pt x="129" y="149"/>
                    <a:pt x="146" y="167"/>
                    <a:pt x="168" y="167"/>
                  </a:cubicBezTo>
                  <a:lnTo>
                    <a:pt x="214" y="167"/>
                  </a:lnTo>
                  <a:lnTo>
                    <a:pt x="214" y="18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6" name="Freeform 481">
              <a:extLst>
                <a:ext uri="{FF2B5EF4-FFF2-40B4-BE49-F238E27FC236}">
                  <a16:creationId xmlns:a16="http://schemas.microsoft.com/office/drawing/2014/main" id="{69D92C31-C971-DF81-290B-762482F11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8126" y="6208713"/>
              <a:ext cx="155575" cy="190500"/>
            </a:xfrm>
            <a:custGeom>
              <a:avLst/>
              <a:gdLst>
                <a:gd name="T0" fmla="*/ 232 w 232"/>
                <a:gd name="T1" fmla="*/ 282 h 282"/>
                <a:gd name="T2" fmla="*/ 215 w 232"/>
                <a:gd name="T3" fmla="*/ 282 h 282"/>
                <a:gd name="T4" fmla="*/ 215 w 232"/>
                <a:gd name="T5" fmla="*/ 93 h 282"/>
                <a:gd name="T6" fmla="*/ 139 w 232"/>
                <a:gd name="T7" fmla="*/ 16 h 282"/>
                <a:gd name="T8" fmla="*/ 0 w 232"/>
                <a:gd name="T9" fmla="*/ 16 h 282"/>
                <a:gd name="T10" fmla="*/ 0 w 232"/>
                <a:gd name="T11" fmla="*/ 0 h 282"/>
                <a:gd name="T12" fmla="*/ 139 w 232"/>
                <a:gd name="T13" fmla="*/ 0 h 282"/>
                <a:gd name="T14" fmla="*/ 232 w 232"/>
                <a:gd name="T15" fmla="*/ 93 h 282"/>
                <a:gd name="T16" fmla="*/ 232 w 232"/>
                <a:gd name="T17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282">
                  <a:moveTo>
                    <a:pt x="232" y="282"/>
                  </a:moveTo>
                  <a:lnTo>
                    <a:pt x="215" y="282"/>
                  </a:lnTo>
                  <a:lnTo>
                    <a:pt x="215" y="93"/>
                  </a:lnTo>
                  <a:cubicBezTo>
                    <a:pt x="215" y="51"/>
                    <a:pt x="181" y="16"/>
                    <a:pt x="139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139" y="0"/>
                  </a:lnTo>
                  <a:cubicBezTo>
                    <a:pt x="190" y="0"/>
                    <a:pt x="232" y="41"/>
                    <a:pt x="232" y="93"/>
                  </a:cubicBezTo>
                  <a:lnTo>
                    <a:pt x="232" y="28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 482">
              <a:extLst>
                <a:ext uri="{FF2B5EF4-FFF2-40B4-BE49-F238E27FC236}">
                  <a16:creationId xmlns:a16="http://schemas.microsoft.com/office/drawing/2014/main" id="{09E68B3F-9FAB-7C88-6CE4-96B3F05331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0838" y="6394451"/>
              <a:ext cx="76200" cy="76200"/>
            </a:xfrm>
            <a:custGeom>
              <a:avLst/>
              <a:gdLst>
                <a:gd name="T0" fmla="*/ 57 w 113"/>
                <a:gd name="T1" fmla="*/ 17 h 114"/>
                <a:gd name="T2" fmla="*/ 16 w 113"/>
                <a:gd name="T3" fmla="*/ 57 h 114"/>
                <a:gd name="T4" fmla="*/ 57 w 113"/>
                <a:gd name="T5" fmla="*/ 97 h 114"/>
                <a:gd name="T6" fmla="*/ 97 w 113"/>
                <a:gd name="T7" fmla="*/ 57 h 114"/>
                <a:gd name="T8" fmla="*/ 57 w 113"/>
                <a:gd name="T9" fmla="*/ 17 h 114"/>
                <a:gd name="T10" fmla="*/ 57 w 113"/>
                <a:gd name="T11" fmla="*/ 114 h 114"/>
                <a:gd name="T12" fmla="*/ 0 w 113"/>
                <a:gd name="T13" fmla="*/ 57 h 114"/>
                <a:gd name="T14" fmla="*/ 57 w 113"/>
                <a:gd name="T15" fmla="*/ 0 h 114"/>
                <a:gd name="T16" fmla="*/ 113 w 113"/>
                <a:gd name="T17" fmla="*/ 57 h 114"/>
                <a:gd name="T18" fmla="*/ 57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7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8"/>
                    <a:pt x="88" y="114"/>
                    <a:pt x="57" y="1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 483">
              <a:extLst>
                <a:ext uri="{FF2B5EF4-FFF2-40B4-BE49-F238E27FC236}">
                  <a16:creationId xmlns:a16="http://schemas.microsoft.com/office/drawing/2014/main" id="{BFAC6B78-FEE7-06B4-33F2-3641DAEB35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938" y="6289676"/>
              <a:ext cx="76200" cy="76200"/>
            </a:xfrm>
            <a:custGeom>
              <a:avLst/>
              <a:gdLst>
                <a:gd name="T0" fmla="*/ 56 w 113"/>
                <a:gd name="T1" fmla="*/ 17 h 114"/>
                <a:gd name="T2" fmla="*/ 16 w 113"/>
                <a:gd name="T3" fmla="*/ 57 h 114"/>
                <a:gd name="T4" fmla="*/ 56 w 113"/>
                <a:gd name="T5" fmla="*/ 97 h 114"/>
                <a:gd name="T6" fmla="*/ 97 w 113"/>
                <a:gd name="T7" fmla="*/ 57 h 114"/>
                <a:gd name="T8" fmla="*/ 56 w 113"/>
                <a:gd name="T9" fmla="*/ 17 h 114"/>
                <a:gd name="T10" fmla="*/ 56 w 113"/>
                <a:gd name="T11" fmla="*/ 114 h 114"/>
                <a:gd name="T12" fmla="*/ 0 w 113"/>
                <a:gd name="T13" fmla="*/ 57 h 114"/>
                <a:gd name="T14" fmla="*/ 56 w 113"/>
                <a:gd name="T15" fmla="*/ 0 h 114"/>
                <a:gd name="T16" fmla="*/ 113 w 113"/>
                <a:gd name="T17" fmla="*/ 57 h 114"/>
                <a:gd name="T18" fmla="*/ 56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6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6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6" y="17"/>
                  </a:cubicBezTo>
                  <a:close/>
                  <a:moveTo>
                    <a:pt x="56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8"/>
                    <a:pt x="88" y="114"/>
                    <a:pt x="56" y="1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 484">
              <a:extLst>
                <a:ext uri="{FF2B5EF4-FFF2-40B4-BE49-F238E27FC236}">
                  <a16:creationId xmlns:a16="http://schemas.microsoft.com/office/drawing/2014/main" id="{5AA9AF86-A12A-D47A-870F-29F2A1A86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238" y="5873751"/>
              <a:ext cx="144463" cy="123825"/>
            </a:xfrm>
            <a:custGeom>
              <a:avLst/>
              <a:gdLst>
                <a:gd name="T0" fmla="*/ 73 w 214"/>
                <a:gd name="T1" fmla="*/ 184 h 184"/>
                <a:gd name="T2" fmla="*/ 0 w 214"/>
                <a:gd name="T3" fmla="*/ 184 h 184"/>
                <a:gd name="T4" fmla="*/ 0 w 214"/>
                <a:gd name="T5" fmla="*/ 167 h 184"/>
                <a:gd name="T6" fmla="*/ 73 w 214"/>
                <a:gd name="T7" fmla="*/ 167 h 184"/>
                <a:gd name="T8" fmla="*/ 112 w 214"/>
                <a:gd name="T9" fmla="*/ 128 h 184"/>
                <a:gd name="T10" fmla="*/ 112 w 214"/>
                <a:gd name="T11" fmla="*/ 55 h 184"/>
                <a:gd name="T12" fmla="*/ 168 w 214"/>
                <a:gd name="T13" fmla="*/ 0 h 184"/>
                <a:gd name="T14" fmla="*/ 214 w 214"/>
                <a:gd name="T15" fmla="*/ 0 h 184"/>
                <a:gd name="T16" fmla="*/ 214 w 214"/>
                <a:gd name="T17" fmla="*/ 16 h 184"/>
                <a:gd name="T18" fmla="*/ 168 w 214"/>
                <a:gd name="T19" fmla="*/ 16 h 184"/>
                <a:gd name="T20" fmla="*/ 129 w 214"/>
                <a:gd name="T21" fmla="*/ 55 h 184"/>
                <a:gd name="T22" fmla="*/ 129 w 214"/>
                <a:gd name="T23" fmla="*/ 128 h 184"/>
                <a:gd name="T24" fmla="*/ 73 w 214"/>
                <a:gd name="T25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184">
                  <a:moveTo>
                    <a:pt x="73" y="184"/>
                  </a:moveTo>
                  <a:lnTo>
                    <a:pt x="0" y="184"/>
                  </a:lnTo>
                  <a:lnTo>
                    <a:pt x="0" y="167"/>
                  </a:lnTo>
                  <a:lnTo>
                    <a:pt x="73" y="167"/>
                  </a:lnTo>
                  <a:cubicBezTo>
                    <a:pt x="95" y="167"/>
                    <a:pt x="112" y="149"/>
                    <a:pt x="112" y="128"/>
                  </a:cubicBezTo>
                  <a:lnTo>
                    <a:pt x="112" y="55"/>
                  </a:lnTo>
                  <a:cubicBezTo>
                    <a:pt x="112" y="25"/>
                    <a:pt x="137" y="0"/>
                    <a:pt x="168" y="0"/>
                  </a:cubicBezTo>
                  <a:lnTo>
                    <a:pt x="214" y="0"/>
                  </a:lnTo>
                  <a:lnTo>
                    <a:pt x="214" y="16"/>
                  </a:lnTo>
                  <a:lnTo>
                    <a:pt x="168" y="16"/>
                  </a:lnTo>
                  <a:cubicBezTo>
                    <a:pt x="146" y="16"/>
                    <a:pt x="129" y="34"/>
                    <a:pt x="129" y="55"/>
                  </a:cubicBezTo>
                  <a:lnTo>
                    <a:pt x="129" y="128"/>
                  </a:lnTo>
                  <a:cubicBezTo>
                    <a:pt x="129" y="159"/>
                    <a:pt x="104" y="184"/>
                    <a:pt x="73" y="18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 485">
              <a:extLst>
                <a:ext uri="{FF2B5EF4-FFF2-40B4-BE49-F238E27FC236}">
                  <a16:creationId xmlns:a16="http://schemas.microsoft.com/office/drawing/2014/main" id="{1CFE8BFF-0C16-5121-4B75-0FCE399571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1938" y="5840413"/>
              <a:ext cx="76200" cy="76200"/>
            </a:xfrm>
            <a:custGeom>
              <a:avLst/>
              <a:gdLst>
                <a:gd name="T0" fmla="*/ 56 w 113"/>
                <a:gd name="T1" fmla="*/ 17 h 114"/>
                <a:gd name="T2" fmla="*/ 16 w 113"/>
                <a:gd name="T3" fmla="*/ 57 h 114"/>
                <a:gd name="T4" fmla="*/ 56 w 113"/>
                <a:gd name="T5" fmla="*/ 97 h 114"/>
                <a:gd name="T6" fmla="*/ 97 w 113"/>
                <a:gd name="T7" fmla="*/ 57 h 114"/>
                <a:gd name="T8" fmla="*/ 56 w 113"/>
                <a:gd name="T9" fmla="*/ 17 h 114"/>
                <a:gd name="T10" fmla="*/ 56 w 113"/>
                <a:gd name="T11" fmla="*/ 114 h 114"/>
                <a:gd name="T12" fmla="*/ 0 w 113"/>
                <a:gd name="T13" fmla="*/ 57 h 114"/>
                <a:gd name="T14" fmla="*/ 56 w 113"/>
                <a:gd name="T15" fmla="*/ 0 h 114"/>
                <a:gd name="T16" fmla="*/ 113 w 113"/>
                <a:gd name="T17" fmla="*/ 57 h 114"/>
                <a:gd name="T18" fmla="*/ 56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6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6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6" y="17"/>
                  </a:cubicBezTo>
                  <a:close/>
                  <a:moveTo>
                    <a:pt x="56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5" y="0"/>
                    <a:pt x="56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8"/>
                    <a:pt x="88" y="114"/>
                    <a:pt x="56" y="1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1" name="Rectangle 486">
              <a:extLst>
                <a:ext uri="{FF2B5EF4-FFF2-40B4-BE49-F238E27FC236}">
                  <a16:creationId xmlns:a16="http://schemas.microsoft.com/office/drawing/2014/main" id="{6DD86904-B766-5F1C-B31C-9F9781D680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2088" y="6097588"/>
              <a:ext cx="196850" cy="1111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Rectangle 487">
              <a:extLst>
                <a:ext uri="{FF2B5EF4-FFF2-40B4-BE49-F238E27FC236}">
                  <a16:creationId xmlns:a16="http://schemas.microsoft.com/office/drawing/2014/main" id="{F61AD29A-BAAC-3F10-89DD-ED95DD892A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8101" y="6097588"/>
              <a:ext cx="123825" cy="1111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488">
              <a:extLst>
                <a:ext uri="{FF2B5EF4-FFF2-40B4-BE49-F238E27FC236}">
                  <a16:creationId xmlns:a16="http://schemas.microsoft.com/office/drawing/2014/main" id="{F26CBFCA-9F90-536B-D4AD-33E49F7EE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5763" y="6064251"/>
              <a:ext cx="76200" cy="76200"/>
            </a:xfrm>
            <a:custGeom>
              <a:avLst/>
              <a:gdLst>
                <a:gd name="T0" fmla="*/ 57 w 114"/>
                <a:gd name="T1" fmla="*/ 16 h 113"/>
                <a:gd name="T2" fmla="*/ 17 w 114"/>
                <a:gd name="T3" fmla="*/ 57 h 113"/>
                <a:gd name="T4" fmla="*/ 57 w 114"/>
                <a:gd name="T5" fmla="*/ 97 h 113"/>
                <a:gd name="T6" fmla="*/ 97 w 114"/>
                <a:gd name="T7" fmla="*/ 57 h 113"/>
                <a:gd name="T8" fmla="*/ 57 w 114"/>
                <a:gd name="T9" fmla="*/ 16 h 113"/>
                <a:gd name="T10" fmla="*/ 57 w 114"/>
                <a:gd name="T11" fmla="*/ 113 h 113"/>
                <a:gd name="T12" fmla="*/ 0 w 114"/>
                <a:gd name="T13" fmla="*/ 57 h 113"/>
                <a:gd name="T14" fmla="*/ 57 w 114"/>
                <a:gd name="T15" fmla="*/ 0 h 113"/>
                <a:gd name="T16" fmla="*/ 114 w 114"/>
                <a:gd name="T17" fmla="*/ 57 h 113"/>
                <a:gd name="T18" fmla="*/ 57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57" y="16"/>
                  </a:moveTo>
                  <a:cubicBezTo>
                    <a:pt x="35" y="16"/>
                    <a:pt x="17" y="34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4"/>
                    <a:pt x="79" y="16"/>
                    <a:pt x="57" y="16"/>
                  </a:cubicBezTo>
                  <a:close/>
                  <a:moveTo>
                    <a:pt x="57" y="113"/>
                  </a:moveTo>
                  <a:cubicBezTo>
                    <a:pt x="25" y="113"/>
                    <a:pt x="0" y="88"/>
                    <a:pt x="0" y="57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88" y="0"/>
                    <a:pt x="114" y="25"/>
                    <a:pt x="114" y="57"/>
                  </a:cubicBezTo>
                  <a:cubicBezTo>
                    <a:pt x="114" y="88"/>
                    <a:pt x="88" y="113"/>
                    <a:pt x="57" y="11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 489">
              <a:extLst>
                <a:ext uri="{FF2B5EF4-FFF2-40B4-BE49-F238E27FC236}">
                  <a16:creationId xmlns:a16="http://schemas.microsoft.com/office/drawing/2014/main" id="{370C394E-506B-142F-6930-C8296984D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8126" y="5805488"/>
              <a:ext cx="155575" cy="192088"/>
            </a:xfrm>
            <a:custGeom>
              <a:avLst/>
              <a:gdLst>
                <a:gd name="T0" fmla="*/ 139 w 232"/>
                <a:gd name="T1" fmla="*/ 283 h 283"/>
                <a:gd name="T2" fmla="*/ 0 w 232"/>
                <a:gd name="T3" fmla="*/ 283 h 283"/>
                <a:gd name="T4" fmla="*/ 0 w 232"/>
                <a:gd name="T5" fmla="*/ 266 h 283"/>
                <a:gd name="T6" fmla="*/ 139 w 232"/>
                <a:gd name="T7" fmla="*/ 266 h 283"/>
                <a:gd name="T8" fmla="*/ 215 w 232"/>
                <a:gd name="T9" fmla="*/ 189 h 283"/>
                <a:gd name="T10" fmla="*/ 215 w 232"/>
                <a:gd name="T11" fmla="*/ 0 h 283"/>
                <a:gd name="T12" fmla="*/ 232 w 232"/>
                <a:gd name="T13" fmla="*/ 0 h 283"/>
                <a:gd name="T14" fmla="*/ 232 w 232"/>
                <a:gd name="T15" fmla="*/ 189 h 283"/>
                <a:gd name="T16" fmla="*/ 139 w 232"/>
                <a:gd name="T17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283">
                  <a:moveTo>
                    <a:pt x="139" y="283"/>
                  </a:moveTo>
                  <a:lnTo>
                    <a:pt x="0" y="283"/>
                  </a:lnTo>
                  <a:lnTo>
                    <a:pt x="0" y="266"/>
                  </a:lnTo>
                  <a:lnTo>
                    <a:pt x="139" y="266"/>
                  </a:lnTo>
                  <a:cubicBezTo>
                    <a:pt x="181" y="266"/>
                    <a:pt x="215" y="232"/>
                    <a:pt x="215" y="189"/>
                  </a:cubicBezTo>
                  <a:lnTo>
                    <a:pt x="215" y="0"/>
                  </a:lnTo>
                  <a:lnTo>
                    <a:pt x="232" y="0"/>
                  </a:lnTo>
                  <a:lnTo>
                    <a:pt x="232" y="189"/>
                  </a:lnTo>
                  <a:cubicBezTo>
                    <a:pt x="232" y="241"/>
                    <a:pt x="190" y="283"/>
                    <a:pt x="139" y="28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 490">
              <a:extLst>
                <a:ext uri="{FF2B5EF4-FFF2-40B4-BE49-F238E27FC236}">
                  <a16:creationId xmlns:a16="http://schemas.microsoft.com/office/drawing/2014/main" id="{F6E3D2F9-8F93-9F09-FAD7-D58067D3A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151" y="5937251"/>
              <a:ext cx="187325" cy="114300"/>
            </a:xfrm>
            <a:custGeom>
              <a:avLst/>
              <a:gdLst>
                <a:gd name="T0" fmla="*/ 41 w 278"/>
                <a:gd name="T1" fmla="*/ 170 h 170"/>
                <a:gd name="T2" fmla="*/ 0 w 278"/>
                <a:gd name="T3" fmla="*/ 170 h 170"/>
                <a:gd name="T4" fmla="*/ 0 w 278"/>
                <a:gd name="T5" fmla="*/ 153 h 170"/>
                <a:gd name="T6" fmla="*/ 41 w 278"/>
                <a:gd name="T7" fmla="*/ 153 h 170"/>
                <a:gd name="T8" fmla="*/ 105 w 278"/>
                <a:gd name="T9" fmla="*/ 131 h 170"/>
                <a:gd name="T10" fmla="*/ 267 w 278"/>
                <a:gd name="T11" fmla="*/ 0 h 170"/>
                <a:gd name="T12" fmla="*/ 278 w 278"/>
                <a:gd name="T13" fmla="*/ 13 h 170"/>
                <a:gd name="T14" fmla="*/ 115 w 278"/>
                <a:gd name="T15" fmla="*/ 144 h 170"/>
                <a:gd name="T16" fmla="*/ 41 w 278"/>
                <a:gd name="T17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8" h="170">
                  <a:moveTo>
                    <a:pt x="41" y="170"/>
                  </a:moveTo>
                  <a:lnTo>
                    <a:pt x="0" y="170"/>
                  </a:lnTo>
                  <a:lnTo>
                    <a:pt x="0" y="153"/>
                  </a:lnTo>
                  <a:lnTo>
                    <a:pt x="41" y="153"/>
                  </a:lnTo>
                  <a:cubicBezTo>
                    <a:pt x="64" y="153"/>
                    <a:pt x="87" y="145"/>
                    <a:pt x="105" y="131"/>
                  </a:cubicBezTo>
                  <a:lnTo>
                    <a:pt x="267" y="0"/>
                  </a:lnTo>
                  <a:lnTo>
                    <a:pt x="278" y="13"/>
                  </a:lnTo>
                  <a:lnTo>
                    <a:pt x="115" y="144"/>
                  </a:lnTo>
                  <a:cubicBezTo>
                    <a:pt x="94" y="160"/>
                    <a:pt x="68" y="170"/>
                    <a:pt x="41" y="170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6" name="Rectangle 491">
              <a:extLst>
                <a:ext uri="{FF2B5EF4-FFF2-40B4-BE49-F238E27FC236}">
                  <a16:creationId xmlns:a16="http://schemas.microsoft.com/office/drawing/2014/main" id="{4AA80218-380E-323B-4A09-DB4892CC26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6838" y="6040438"/>
              <a:ext cx="166688" cy="1111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7" name="Rectangle 492">
              <a:extLst>
                <a:ext uri="{FF2B5EF4-FFF2-40B4-BE49-F238E27FC236}">
                  <a16:creationId xmlns:a16="http://schemas.microsoft.com/office/drawing/2014/main" id="{D1F977AB-A6F1-8BB3-CE27-F67665497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2388" y="6040438"/>
              <a:ext cx="22225" cy="1111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 493">
              <a:extLst>
                <a:ext uri="{FF2B5EF4-FFF2-40B4-BE49-F238E27FC236}">
                  <a16:creationId xmlns:a16="http://schemas.microsoft.com/office/drawing/2014/main" id="{CEA294BC-15D6-E28B-0988-C855ED2C97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0838" y="5734051"/>
              <a:ext cx="76200" cy="77788"/>
            </a:xfrm>
            <a:custGeom>
              <a:avLst/>
              <a:gdLst>
                <a:gd name="T0" fmla="*/ 57 w 113"/>
                <a:gd name="T1" fmla="*/ 17 h 114"/>
                <a:gd name="T2" fmla="*/ 16 w 113"/>
                <a:gd name="T3" fmla="*/ 57 h 114"/>
                <a:gd name="T4" fmla="*/ 57 w 113"/>
                <a:gd name="T5" fmla="*/ 97 h 114"/>
                <a:gd name="T6" fmla="*/ 97 w 113"/>
                <a:gd name="T7" fmla="*/ 57 h 114"/>
                <a:gd name="T8" fmla="*/ 57 w 113"/>
                <a:gd name="T9" fmla="*/ 17 h 114"/>
                <a:gd name="T10" fmla="*/ 57 w 113"/>
                <a:gd name="T11" fmla="*/ 114 h 114"/>
                <a:gd name="T12" fmla="*/ 0 w 113"/>
                <a:gd name="T13" fmla="*/ 57 h 114"/>
                <a:gd name="T14" fmla="*/ 57 w 113"/>
                <a:gd name="T15" fmla="*/ 0 h 114"/>
                <a:gd name="T16" fmla="*/ 113 w 113"/>
                <a:gd name="T17" fmla="*/ 57 h 114"/>
                <a:gd name="T18" fmla="*/ 57 w 113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3" h="114">
                  <a:moveTo>
                    <a:pt x="57" y="17"/>
                  </a:moveTo>
                  <a:cubicBezTo>
                    <a:pt x="34" y="17"/>
                    <a:pt x="16" y="35"/>
                    <a:pt x="16" y="57"/>
                  </a:cubicBezTo>
                  <a:cubicBezTo>
                    <a:pt x="16" y="79"/>
                    <a:pt x="34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5" y="114"/>
                    <a:pt x="0" y="89"/>
                    <a:pt x="0" y="57"/>
                  </a:cubicBezTo>
                  <a:cubicBezTo>
                    <a:pt x="0" y="26"/>
                    <a:pt x="25" y="0"/>
                    <a:pt x="57" y="0"/>
                  </a:cubicBezTo>
                  <a:cubicBezTo>
                    <a:pt x="88" y="0"/>
                    <a:pt x="113" y="26"/>
                    <a:pt x="113" y="57"/>
                  </a:cubicBezTo>
                  <a:cubicBezTo>
                    <a:pt x="113" y="89"/>
                    <a:pt x="88" y="114"/>
                    <a:pt x="57" y="1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 494">
              <a:extLst>
                <a:ext uri="{FF2B5EF4-FFF2-40B4-BE49-F238E27FC236}">
                  <a16:creationId xmlns:a16="http://schemas.microsoft.com/office/drawing/2014/main" id="{5F08812F-2901-1DDD-2761-7C3BEE09F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1013" y="5884863"/>
              <a:ext cx="77788" cy="76200"/>
            </a:xfrm>
            <a:custGeom>
              <a:avLst/>
              <a:gdLst>
                <a:gd name="T0" fmla="*/ 57 w 114"/>
                <a:gd name="T1" fmla="*/ 16 h 113"/>
                <a:gd name="T2" fmla="*/ 17 w 114"/>
                <a:gd name="T3" fmla="*/ 57 h 113"/>
                <a:gd name="T4" fmla="*/ 57 w 114"/>
                <a:gd name="T5" fmla="*/ 97 h 113"/>
                <a:gd name="T6" fmla="*/ 97 w 114"/>
                <a:gd name="T7" fmla="*/ 57 h 113"/>
                <a:gd name="T8" fmla="*/ 57 w 114"/>
                <a:gd name="T9" fmla="*/ 16 h 113"/>
                <a:gd name="T10" fmla="*/ 57 w 114"/>
                <a:gd name="T11" fmla="*/ 113 h 113"/>
                <a:gd name="T12" fmla="*/ 0 w 114"/>
                <a:gd name="T13" fmla="*/ 57 h 113"/>
                <a:gd name="T14" fmla="*/ 57 w 114"/>
                <a:gd name="T15" fmla="*/ 0 h 113"/>
                <a:gd name="T16" fmla="*/ 114 w 114"/>
                <a:gd name="T17" fmla="*/ 57 h 113"/>
                <a:gd name="T18" fmla="*/ 57 w 114"/>
                <a:gd name="T1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3">
                  <a:moveTo>
                    <a:pt x="57" y="16"/>
                  </a:moveTo>
                  <a:cubicBezTo>
                    <a:pt x="35" y="16"/>
                    <a:pt x="17" y="34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4"/>
                    <a:pt x="79" y="16"/>
                    <a:pt x="57" y="16"/>
                  </a:cubicBezTo>
                  <a:close/>
                  <a:moveTo>
                    <a:pt x="57" y="113"/>
                  </a:moveTo>
                  <a:cubicBezTo>
                    <a:pt x="26" y="113"/>
                    <a:pt x="0" y="88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88" y="0"/>
                    <a:pt x="114" y="25"/>
                    <a:pt x="114" y="57"/>
                  </a:cubicBezTo>
                  <a:cubicBezTo>
                    <a:pt x="114" y="88"/>
                    <a:pt x="88" y="113"/>
                    <a:pt x="57" y="113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 495">
              <a:extLst>
                <a:ext uri="{FF2B5EF4-FFF2-40B4-BE49-F238E27FC236}">
                  <a16:creationId xmlns:a16="http://schemas.microsoft.com/office/drawing/2014/main" id="{4329D03F-4A49-7C1F-0F64-18F2E39C9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238" y="6151563"/>
              <a:ext cx="376238" cy="114300"/>
            </a:xfrm>
            <a:custGeom>
              <a:avLst/>
              <a:gdLst>
                <a:gd name="T0" fmla="*/ 546 w 557"/>
                <a:gd name="T1" fmla="*/ 169 h 169"/>
                <a:gd name="T2" fmla="*/ 384 w 557"/>
                <a:gd name="T3" fmla="*/ 39 h 169"/>
                <a:gd name="T4" fmla="*/ 320 w 557"/>
                <a:gd name="T5" fmla="*/ 16 h 169"/>
                <a:gd name="T6" fmla="*/ 0 w 557"/>
                <a:gd name="T7" fmla="*/ 16 h 169"/>
                <a:gd name="T8" fmla="*/ 0 w 557"/>
                <a:gd name="T9" fmla="*/ 0 h 169"/>
                <a:gd name="T10" fmla="*/ 320 w 557"/>
                <a:gd name="T11" fmla="*/ 0 h 169"/>
                <a:gd name="T12" fmla="*/ 394 w 557"/>
                <a:gd name="T13" fmla="*/ 26 h 169"/>
                <a:gd name="T14" fmla="*/ 557 w 557"/>
                <a:gd name="T15" fmla="*/ 156 h 169"/>
                <a:gd name="T16" fmla="*/ 546 w 557"/>
                <a:gd name="T17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7" h="169">
                  <a:moveTo>
                    <a:pt x="546" y="169"/>
                  </a:moveTo>
                  <a:lnTo>
                    <a:pt x="384" y="39"/>
                  </a:lnTo>
                  <a:cubicBezTo>
                    <a:pt x="366" y="24"/>
                    <a:pt x="343" y="16"/>
                    <a:pt x="320" y="16"/>
                  </a:cubicBezTo>
                  <a:lnTo>
                    <a:pt x="0" y="16"/>
                  </a:lnTo>
                  <a:lnTo>
                    <a:pt x="0" y="0"/>
                  </a:lnTo>
                  <a:lnTo>
                    <a:pt x="320" y="0"/>
                  </a:lnTo>
                  <a:cubicBezTo>
                    <a:pt x="347" y="0"/>
                    <a:pt x="373" y="9"/>
                    <a:pt x="394" y="26"/>
                  </a:cubicBezTo>
                  <a:lnTo>
                    <a:pt x="557" y="156"/>
                  </a:lnTo>
                  <a:lnTo>
                    <a:pt x="546" y="16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Rectangle 496">
              <a:extLst>
                <a:ext uri="{FF2B5EF4-FFF2-40B4-BE49-F238E27FC236}">
                  <a16:creationId xmlns:a16="http://schemas.microsoft.com/office/drawing/2014/main" id="{BBA16A0F-61B5-F06E-472F-950BACB176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7788" y="6151563"/>
              <a:ext cx="22225" cy="11113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 497">
              <a:extLst>
                <a:ext uri="{FF2B5EF4-FFF2-40B4-BE49-F238E27FC236}">
                  <a16:creationId xmlns:a16="http://schemas.microsoft.com/office/drawing/2014/main" id="{348DA373-E976-4690-F6DE-A6C9F061D1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1013" y="6242051"/>
              <a:ext cx="77788" cy="76200"/>
            </a:xfrm>
            <a:custGeom>
              <a:avLst/>
              <a:gdLst>
                <a:gd name="T0" fmla="*/ 57 w 114"/>
                <a:gd name="T1" fmla="*/ 17 h 114"/>
                <a:gd name="T2" fmla="*/ 17 w 114"/>
                <a:gd name="T3" fmla="*/ 57 h 114"/>
                <a:gd name="T4" fmla="*/ 57 w 114"/>
                <a:gd name="T5" fmla="*/ 97 h 114"/>
                <a:gd name="T6" fmla="*/ 97 w 114"/>
                <a:gd name="T7" fmla="*/ 57 h 114"/>
                <a:gd name="T8" fmla="*/ 57 w 114"/>
                <a:gd name="T9" fmla="*/ 17 h 114"/>
                <a:gd name="T10" fmla="*/ 57 w 114"/>
                <a:gd name="T11" fmla="*/ 114 h 114"/>
                <a:gd name="T12" fmla="*/ 0 w 114"/>
                <a:gd name="T13" fmla="*/ 57 h 114"/>
                <a:gd name="T14" fmla="*/ 57 w 114"/>
                <a:gd name="T15" fmla="*/ 0 h 114"/>
                <a:gd name="T16" fmla="*/ 114 w 114"/>
                <a:gd name="T17" fmla="*/ 57 h 114"/>
                <a:gd name="T18" fmla="*/ 57 w 114"/>
                <a:gd name="T1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14">
                  <a:moveTo>
                    <a:pt x="57" y="17"/>
                  </a:moveTo>
                  <a:cubicBezTo>
                    <a:pt x="35" y="17"/>
                    <a:pt x="17" y="35"/>
                    <a:pt x="17" y="57"/>
                  </a:cubicBezTo>
                  <a:cubicBezTo>
                    <a:pt x="17" y="79"/>
                    <a:pt x="35" y="97"/>
                    <a:pt x="57" y="97"/>
                  </a:cubicBezTo>
                  <a:cubicBezTo>
                    <a:pt x="79" y="97"/>
                    <a:pt x="97" y="79"/>
                    <a:pt x="97" y="57"/>
                  </a:cubicBezTo>
                  <a:cubicBezTo>
                    <a:pt x="97" y="35"/>
                    <a:pt x="79" y="17"/>
                    <a:pt x="57" y="17"/>
                  </a:cubicBezTo>
                  <a:close/>
                  <a:moveTo>
                    <a:pt x="57" y="114"/>
                  </a:moveTo>
                  <a:cubicBezTo>
                    <a:pt x="26" y="114"/>
                    <a:pt x="0" y="88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88" y="0"/>
                    <a:pt x="114" y="26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 498">
              <a:extLst>
                <a:ext uri="{FF2B5EF4-FFF2-40B4-BE49-F238E27FC236}">
                  <a16:creationId xmlns:a16="http://schemas.microsoft.com/office/drawing/2014/main" id="{6D7E28BE-F7B1-255A-ADA7-3DB99A256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826" y="5943601"/>
              <a:ext cx="165100" cy="330200"/>
            </a:xfrm>
            <a:custGeom>
              <a:avLst/>
              <a:gdLst>
                <a:gd name="T0" fmla="*/ 245 w 245"/>
                <a:gd name="T1" fmla="*/ 489 h 489"/>
                <a:gd name="T2" fmla="*/ 0 w 245"/>
                <a:gd name="T3" fmla="*/ 245 h 489"/>
                <a:gd name="T4" fmla="*/ 245 w 245"/>
                <a:gd name="T5" fmla="*/ 0 h 489"/>
                <a:gd name="T6" fmla="*/ 245 w 245"/>
                <a:gd name="T7" fmla="*/ 17 h 489"/>
                <a:gd name="T8" fmla="*/ 17 w 245"/>
                <a:gd name="T9" fmla="*/ 245 h 489"/>
                <a:gd name="T10" fmla="*/ 245 w 245"/>
                <a:gd name="T11" fmla="*/ 472 h 489"/>
                <a:gd name="T12" fmla="*/ 245 w 245"/>
                <a:gd name="T13" fmla="*/ 48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489">
                  <a:moveTo>
                    <a:pt x="245" y="489"/>
                  </a:moveTo>
                  <a:cubicBezTo>
                    <a:pt x="110" y="489"/>
                    <a:pt x="0" y="379"/>
                    <a:pt x="0" y="245"/>
                  </a:cubicBezTo>
                  <a:cubicBezTo>
                    <a:pt x="0" y="110"/>
                    <a:pt x="110" y="0"/>
                    <a:pt x="245" y="0"/>
                  </a:cubicBezTo>
                  <a:lnTo>
                    <a:pt x="245" y="17"/>
                  </a:lnTo>
                  <a:cubicBezTo>
                    <a:pt x="119" y="17"/>
                    <a:pt x="17" y="119"/>
                    <a:pt x="17" y="245"/>
                  </a:cubicBezTo>
                  <a:cubicBezTo>
                    <a:pt x="17" y="370"/>
                    <a:pt x="119" y="472"/>
                    <a:pt x="245" y="472"/>
                  </a:cubicBezTo>
                  <a:lnTo>
                    <a:pt x="245" y="48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 499">
              <a:extLst>
                <a:ext uri="{FF2B5EF4-FFF2-40B4-BE49-F238E27FC236}">
                  <a16:creationId xmlns:a16="http://schemas.microsoft.com/office/drawing/2014/main" id="{8A20A192-1ED9-518B-D72F-9CBDD2D11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38" y="5751513"/>
              <a:ext cx="357188" cy="714375"/>
            </a:xfrm>
            <a:custGeom>
              <a:avLst/>
              <a:gdLst>
                <a:gd name="T0" fmla="*/ 470 w 530"/>
                <a:gd name="T1" fmla="*/ 1059 h 1059"/>
                <a:gd name="T2" fmla="*/ 416 w 530"/>
                <a:gd name="T3" fmla="*/ 971 h 1059"/>
                <a:gd name="T4" fmla="*/ 346 w 530"/>
                <a:gd name="T5" fmla="*/ 914 h 1059"/>
                <a:gd name="T6" fmla="*/ 273 w 530"/>
                <a:gd name="T7" fmla="*/ 946 h 1059"/>
                <a:gd name="T8" fmla="*/ 113 w 530"/>
                <a:gd name="T9" fmla="*/ 862 h 1059"/>
                <a:gd name="T10" fmla="*/ 137 w 530"/>
                <a:gd name="T11" fmla="*/ 761 h 1059"/>
                <a:gd name="T12" fmla="*/ 128 w 530"/>
                <a:gd name="T13" fmla="*/ 671 h 1059"/>
                <a:gd name="T14" fmla="*/ 54 w 530"/>
                <a:gd name="T15" fmla="*/ 643 h 1059"/>
                <a:gd name="T16" fmla="*/ 0 w 530"/>
                <a:gd name="T17" fmla="*/ 470 h 1059"/>
                <a:gd name="T18" fmla="*/ 87 w 530"/>
                <a:gd name="T19" fmla="*/ 416 h 1059"/>
                <a:gd name="T20" fmla="*/ 145 w 530"/>
                <a:gd name="T21" fmla="*/ 346 h 1059"/>
                <a:gd name="T22" fmla="*/ 113 w 530"/>
                <a:gd name="T23" fmla="*/ 273 h 1059"/>
                <a:gd name="T24" fmla="*/ 113 w 530"/>
                <a:gd name="T25" fmla="*/ 197 h 1059"/>
                <a:gd name="T26" fmla="*/ 236 w 530"/>
                <a:gd name="T27" fmla="*/ 98 h 1059"/>
                <a:gd name="T28" fmla="*/ 298 w 530"/>
                <a:gd name="T29" fmla="*/ 137 h 1059"/>
                <a:gd name="T30" fmla="*/ 388 w 530"/>
                <a:gd name="T31" fmla="*/ 128 h 1059"/>
                <a:gd name="T32" fmla="*/ 416 w 530"/>
                <a:gd name="T33" fmla="*/ 54 h 1059"/>
                <a:gd name="T34" fmla="*/ 530 w 530"/>
                <a:gd name="T35" fmla="*/ 0 h 1059"/>
                <a:gd name="T36" fmla="*/ 470 w 530"/>
                <a:gd name="T37" fmla="*/ 17 h 1059"/>
                <a:gd name="T38" fmla="*/ 433 w 530"/>
                <a:gd name="T39" fmla="*/ 87 h 1059"/>
                <a:gd name="T40" fmla="*/ 351 w 530"/>
                <a:gd name="T41" fmla="*/ 161 h 1059"/>
                <a:gd name="T42" fmla="*/ 265 w 530"/>
                <a:gd name="T43" fmla="*/ 128 h 1059"/>
                <a:gd name="T44" fmla="*/ 209 w 530"/>
                <a:gd name="T45" fmla="*/ 125 h 1059"/>
                <a:gd name="T46" fmla="*/ 114 w 530"/>
                <a:gd name="T47" fmla="*/ 235 h 1059"/>
                <a:gd name="T48" fmla="*/ 148 w 530"/>
                <a:gd name="T49" fmla="*/ 285 h 1059"/>
                <a:gd name="T50" fmla="*/ 143 w 530"/>
                <a:gd name="T51" fmla="*/ 393 h 1059"/>
                <a:gd name="T52" fmla="*/ 54 w 530"/>
                <a:gd name="T53" fmla="*/ 433 h 1059"/>
                <a:gd name="T54" fmla="*/ 17 w 530"/>
                <a:gd name="T55" fmla="*/ 589 h 1059"/>
                <a:gd name="T56" fmla="*/ 87 w 530"/>
                <a:gd name="T57" fmla="*/ 626 h 1059"/>
                <a:gd name="T58" fmla="*/ 161 w 530"/>
                <a:gd name="T59" fmla="*/ 708 h 1059"/>
                <a:gd name="T60" fmla="*/ 128 w 530"/>
                <a:gd name="T61" fmla="*/ 794 h 1059"/>
                <a:gd name="T62" fmla="*/ 209 w 530"/>
                <a:gd name="T63" fmla="*/ 934 h 1059"/>
                <a:gd name="T64" fmla="*/ 285 w 530"/>
                <a:gd name="T65" fmla="*/ 911 h 1059"/>
                <a:gd name="T66" fmla="*/ 395 w 530"/>
                <a:gd name="T67" fmla="*/ 916 h 1059"/>
                <a:gd name="T68" fmla="*/ 433 w 530"/>
                <a:gd name="T69" fmla="*/ 1001 h 1059"/>
                <a:gd name="T70" fmla="*/ 530 w 530"/>
                <a:gd name="T71" fmla="*/ 1042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0" h="1059">
                  <a:moveTo>
                    <a:pt x="530" y="1059"/>
                  </a:moveTo>
                  <a:lnTo>
                    <a:pt x="470" y="1059"/>
                  </a:lnTo>
                  <a:cubicBezTo>
                    <a:pt x="439" y="1059"/>
                    <a:pt x="416" y="1034"/>
                    <a:pt x="416" y="1001"/>
                  </a:cubicBezTo>
                  <a:lnTo>
                    <a:pt x="416" y="971"/>
                  </a:lnTo>
                  <a:cubicBezTo>
                    <a:pt x="416" y="953"/>
                    <a:pt x="405" y="937"/>
                    <a:pt x="389" y="932"/>
                  </a:cubicBezTo>
                  <a:cubicBezTo>
                    <a:pt x="374" y="927"/>
                    <a:pt x="360" y="921"/>
                    <a:pt x="346" y="914"/>
                  </a:cubicBezTo>
                  <a:cubicBezTo>
                    <a:pt x="329" y="906"/>
                    <a:pt x="310" y="910"/>
                    <a:pt x="297" y="923"/>
                  </a:cubicBezTo>
                  <a:lnTo>
                    <a:pt x="273" y="946"/>
                  </a:lnTo>
                  <a:cubicBezTo>
                    <a:pt x="252" y="967"/>
                    <a:pt x="218" y="967"/>
                    <a:pt x="197" y="946"/>
                  </a:cubicBezTo>
                  <a:lnTo>
                    <a:pt x="113" y="862"/>
                  </a:lnTo>
                  <a:cubicBezTo>
                    <a:pt x="91" y="840"/>
                    <a:pt x="93" y="806"/>
                    <a:pt x="116" y="782"/>
                  </a:cubicBezTo>
                  <a:lnTo>
                    <a:pt x="137" y="761"/>
                  </a:lnTo>
                  <a:cubicBezTo>
                    <a:pt x="150" y="749"/>
                    <a:pt x="153" y="730"/>
                    <a:pt x="146" y="715"/>
                  </a:cubicBezTo>
                  <a:cubicBezTo>
                    <a:pt x="139" y="701"/>
                    <a:pt x="133" y="686"/>
                    <a:pt x="128" y="671"/>
                  </a:cubicBezTo>
                  <a:cubicBezTo>
                    <a:pt x="122" y="654"/>
                    <a:pt x="105" y="643"/>
                    <a:pt x="87" y="643"/>
                  </a:cubicBezTo>
                  <a:lnTo>
                    <a:pt x="54" y="643"/>
                  </a:lnTo>
                  <a:cubicBezTo>
                    <a:pt x="24" y="643"/>
                    <a:pt x="0" y="619"/>
                    <a:pt x="0" y="589"/>
                  </a:cubicBezTo>
                  <a:lnTo>
                    <a:pt x="0" y="470"/>
                  </a:lnTo>
                  <a:cubicBezTo>
                    <a:pt x="0" y="440"/>
                    <a:pt x="24" y="416"/>
                    <a:pt x="54" y="416"/>
                  </a:cubicBezTo>
                  <a:lnTo>
                    <a:pt x="87" y="416"/>
                  </a:lnTo>
                  <a:cubicBezTo>
                    <a:pt x="105" y="416"/>
                    <a:pt x="122" y="405"/>
                    <a:pt x="128" y="388"/>
                  </a:cubicBezTo>
                  <a:cubicBezTo>
                    <a:pt x="133" y="373"/>
                    <a:pt x="139" y="359"/>
                    <a:pt x="145" y="346"/>
                  </a:cubicBezTo>
                  <a:cubicBezTo>
                    <a:pt x="153" y="329"/>
                    <a:pt x="149" y="310"/>
                    <a:pt x="136" y="297"/>
                  </a:cubicBezTo>
                  <a:lnTo>
                    <a:pt x="113" y="273"/>
                  </a:lnTo>
                  <a:cubicBezTo>
                    <a:pt x="103" y="263"/>
                    <a:pt x="97" y="250"/>
                    <a:pt x="97" y="235"/>
                  </a:cubicBezTo>
                  <a:cubicBezTo>
                    <a:pt x="97" y="221"/>
                    <a:pt x="103" y="207"/>
                    <a:pt x="113" y="197"/>
                  </a:cubicBezTo>
                  <a:lnTo>
                    <a:pt x="197" y="113"/>
                  </a:lnTo>
                  <a:cubicBezTo>
                    <a:pt x="207" y="103"/>
                    <a:pt x="221" y="97"/>
                    <a:pt x="236" y="98"/>
                  </a:cubicBezTo>
                  <a:cubicBezTo>
                    <a:pt x="251" y="98"/>
                    <a:pt x="265" y="105"/>
                    <a:pt x="277" y="116"/>
                  </a:cubicBezTo>
                  <a:lnTo>
                    <a:pt x="298" y="137"/>
                  </a:lnTo>
                  <a:cubicBezTo>
                    <a:pt x="310" y="150"/>
                    <a:pt x="329" y="153"/>
                    <a:pt x="344" y="146"/>
                  </a:cubicBezTo>
                  <a:cubicBezTo>
                    <a:pt x="358" y="139"/>
                    <a:pt x="373" y="133"/>
                    <a:pt x="388" y="128"/>
                  </a:cubicBezTo>
                  <a:cubicBezTo>
                    <a:pt x="405" y="122"/>
                    <a:pt x="416" y="105"/>
                    <a:pt x="416" y="87"/>
                  </a:cubicBezTo>
                  <a:lnTo>
                    <a:pt x="416" y="54"/>
                  </a:lnTo>
                  <a:cubicBezTo>
                    <a:pt x="416" y="24"/>
                    <a:pt x="440" y="0"/>
                    <a:pt x="470" y="0"/>
                  </a:cubicBezTo>
                  <a:lnTo>
                    <a:pt x="530" y="0"/>
                  </a:lnTo>
                  <a:lnTo>
                    <a:pt x="530" y="17"/>
                  </a:lnTo>
                  <a:lnTo>
                    <a:pt x="470" y="17"/>
                  </a:lnTo>
                  <a:cubicBezTo>
                    <a:pt x="450" y="17"/>
                    <a:pt x="433" y="33"/>
                    <a:pt x="433" y="54"/>
                  </a:cubicBezTo>
                  <a:lnTo>
                    <a:pt x="433" y="87"/>
                  </a:lnTo>
                  <a:cubicBezTo>
                    <a:pt x="433" y="112"/>
                    <a:pt x="417" y="135"/>
                    <a:pt x="393" y="143"/>
                  </a:cubicBezTo>
                  <a:cubicBezTo>
                    <a:pt x="379" y="148"/>
                    <a:pt x="365" y="154"/>
                    <a:pt x="351" y="161"/>
                  </a:cubicBezTo>
                  <a:cubicBezTo>
                    <a:pt x="330" y="171"/>
                    <a:pt x="303" y="167"/>
                    <a:pt x="286" y="149"/>
                  </a:cubicBezTo>
                  <a:lnTo>
                    <a:pt x="265" y="128"/>
                  </a:lnTo>
                  <a:cubicBezTo>
                    <a:pt x="256" y="120"/>
                    <a:pt x="246" y="115"/>
                    <a:pt x="235" y="114"/>
                  </a:cubicBezTo>
                  <a:cubicBezTo>
                    <a:pt x="225" y="114"/>
                    <a:pt x="216" y="118"/>
                    <a:pt x="209" y="125"/>
                  </a:cubicBezTo>
                  <a:lnTo>
                    <a:pt x="125" y="209"/>
                  </a:lnTo>
                  <a:cubicBezTo>
                    <a:pt x="118" y="216"/>
                    <a:pt x="114" y="225"/>
                    <a:pt x="114" y="235"/>
                  </a:cubicBezTo>
                  <a:cubicBezTo>
                    <a:pt x="114" y="245"/>
                    <a:pt x="118" y="255"/>
                    <a:pt x="125" y="262"/>
                  </a:cubicBezTo>
                  <a:lnTo>
                    <a:pt x="148" y="285"/>
                  </a:lnTo>
                  <a:cubicBezTo>
                    <a:pt x="166" y="303"/>
                    <a:pt x="171" y="330"/>
                    <a:pt x="160" y="353"/>
                  </a:cubicBezTo>
                  <a:cubicBezTo>
                    <a:pt x="154" y="366"/>
                    <a:pt x="148" y="380"/>
                    <a:pt x="143" y="393"/>
                  </a:cubicBezTo>
                  <a:cubicBezTo>
                    <a:pt x="135" y="417"/>
                    <a:pt x="112" y="433"/>
                    <a:pt x="87" y="433"/>
                  </a:cubicBezTo>
                  <a:lnTo>
                    <a:pt x="54" y="433"/>
                  </a:lnTo>
                  <a:cubicBezTo>
                    <a:pt x="33" y="433"/>
                    <a:pt x="17" y="450"/>
                    <a:pt x="17" y="470"/>
                  </a:cubicBezTo>
                  <a:lnTo>
                    <a:pt x="17" y="589"/>
                  </a:lnTo>
                  <a:cubicBezTo>
                    <a:pt x="17" y="609"/>
                    <a:pt x="33" y="626"/>
                    <a:pt x="54" y="626"/>
                  </a:cubicBezTo>
                  <a:lnTo>
                    <a:pt x="87" y="626"/>
                  </a:lnTo>
                  <a:cubicBezTo>
                    <a:pt x="112" y="626"/>
                    <a:pt x="135" y="642"/>
                    <a:pt x="143" y="666"/>
                  </a:cubicBezTo>
                  <a:cubicBezTo>
                    <a:pt x="148" y="680"/>
                    <a:pt x="154" y="694"/>
                    <a:pt x="161" y="708"/>
                  </a:cubicBezTo>
                  <a:cubicBezTo>
                    <a:pt x="171" y="729"/>
                    <a:pt x="167" y="756"/>
                    <a:pt x="149" y="773"/>
                  </a:cubicBezTo>
                  <a:lnTo>
                    <a:pt x="128" y="794"/>
                  </a:lnTo>
                  <a:cubicBezTo>
                    <a:pt x="111" y="811"/>
                    <a:pt x="110" y="835"/>
                    <a:pt x="125" y="850"/>
                  </a:cubicBezTo>
                  <a:lnTo>
                    <a:pt x="209" y="934"/>
                  </a:lnTo>
                  <a:cubicBezTo>
                    <a:pt x="223" y="949"/>
                    <a:pt x="247" y="949"/>
                    <a:pt x="262" y="934"/>
                  </a:cubicBezTo>
                  <a:lnTo>
                    <a:pt x="285" y="911"/>
                  </a:lnTo>
                  <a:cubicBezTo>
                    <a:pt x="303" y="893"/>
                    <a:pt x="330" y="888"/>
                    <a:pt x="353" y="899"/>
                  </a:cubicBezTo>
                  <a:cubicBezTo>
                    <a:pt x="366" y="905"/>
                    <a:pt x="381" y="911"/>
                    <a:pt x="395" y="916"/>
                  </a:cubicBezTo>
                  <a:cubicBezTo>
                    <a:pt x="418" y="924"/>
                    <a:pt x="433" y="946"/>
                    <a:pt x="433" y="971"/>
                  </a:cubicBezTo>
                  <a:lnTo>
                    <a:pt x="433" y="1001"/>
                  </a:lnTo>
                  <a:cubicBezTo>
                    <a:pt x="433" y="1025"/>
                    <a:pt x="449" y="1042"/>
                    <a:pt x="470" y="1042"/>
                  </a:cubicBezTo>
                  <a:lnTo>
                    <a:pt x="530" y="1042"/>
                  </a:lnTo>
                  <a:lnTo>
                    <a:pt x="530" y="105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60" name="Pedagog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DAB955E-2BC6-191D-FE07-6A898F807A20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7550309" y="4850191"/>
            <a:ext cx="452932" cy="508000"/>
            <a:chOff x="5837239" y="3568700"/>
            <a:chExt cx="522288" cy="585788"/>
          </a:xfrm>
          <a:solidFill>
            <a:schemeClr val="bg1"/>
          </a:solidFill>
        </p:grpSpPr>
        <p:sp>
          <p:nvSpPr>
            <p:cNvPr id="61" name="Freeform 48">
              <a:extLst>
                <a:ext uri="{FF2B5EF4-FFF2-40B4-BE49-F238E27FC236}">
                  <a16:creationId xmlns:a16="http://schemas.microsoft.com/office/drawing/2014/main" id="{AA6249E4-9B9A-305C-1A28-31EE1A2CD0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3751" y="3608388"/>
              <a:ext cx="122238" cy="122238"/>
            </a:xfrm>
            <a:custGeom>
              <a:avLst/>
              <a:gdLst>
                <a:gd name="T0" fmla="*/ 144 w 178"/>
                <a:gd name="T1" fmla="*/ 90 h 179"/>
                <a:gd name="T2" fmla="*/ 89 w 178"/>
                <a:gd name="T3" fmla="*/ 144 h 179"/>
                <a:gd name="T4" fmla="*/ 34 w 178"/>
                <a:gd name="T5" fmla="*/ 90 h 179"/>
                <a:gd name="T6" fmla="*/ 89 w 178"/>
                <a:gd name="T7" fmla="*/ 35 h 179"/>
                <a:gd name="T8" fmla="*/ 144 w 178"/>
                <a:gd name="T9" fmla="*/ 90 h 179"/>
                <a:gd name="T10" fmla="*/ 0 w 178"/>
                <a:gd name="T11" fmla="*/ 90 h 179"/>
                <a:gd name="T12" fmla="*/ 89 w 178"/>
                <a:gd name="T13" fmla="*/ 179 h 179"/>
                <a:gd name="T14" fmla="*/ 178 w 178"/>
                <a:gd name="T15" fmla="*/ 90 h 179"/>
                <a:gd name="T16" fmla="*/ 89 w 178"/>
                <a:gd name="T17" fmla="*/ 0 h 179"/>
                <a:gd name="T18" fmla="*/ 0 w 178"/>
                <a:gd name="T19" fmla="*/ 9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9">
                  <a:moveTo>
                    <a:pt x="144" y="90"/>
                  </a:moveTo>
                  <a:cubicBezTo>
                    <a:pt x="144" y="120"/>
                    <a:pt x="119" y="144"/>
                    <a:pt x="89" y="144"/>
                  </a:cubicBezTo>
                  <a:cubicBezTo>
                    <a:pt x="59" y="144"/>
                    <a:pt x="34" y="120"/>
                    <a:pt x="34" y="90"/>
                  </a:cubicBezTo>
                  <a:cubicBezTo>
                    <a:pt x="34" y="59"/>
                    <a:pt x="59" y="35"/>
                    <a:pt x="89" y="35"/>
                  </a:cubicBezTo>
                  <a:cubicBezTo>
                    <a:pt x="119" y="35"/>
                    <a:pt x="144" y="59"/>
                    <a:pt x="144" y="90"/>
                  </a:cubicBezTo>
                  <a:close/>
                  <a:moveTo>
                    <a:pt x="0" y="90"/>
                  </a:moveTo>
                  <a:cubicBezTo>
                    <a:pt x="0" y="139"/>
                    <a:pt x="40" y="179"/>
                    <a:pt x="89" y="179"/>
                  </a:cubicBezTo>
                  <a:cubicBezTo>
                    <a:pt x="138" y="179"/>
                    <a:pt x="178" y="139"/>
                    <a:pt x="178" y="90"/>
                  </a:cubicBezTo>
                  <a:cubicBezTo>
                    <a:pt x="178" y="40"/>
                    <a:pt x="138" y="0"/>
                    <a:pt x="89" y="0"/>
                  </a:cubicBezTo>
                  <a:cubicBezTo>
                    <a:pt x="40" y="0"/>
                    <a:pt x="0" y="40"/>
                    <a:pt x="0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Freeform 49">
              <a:extLst>
                <a:ext uri="{FF2B5EF4-FFF2-40B4-BE49-F238E27FC236}">
                  <a16:creationId xmlns:a16="http://schemas.microsoft.com/office/drawing/2014/main" id="{56972BFA-BEE4-70AD-4755-D0774F572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239" y="3568700"/>
              <a:ext cx="522288" cy="415925"/>
            </a:xfrm>
            <a:custGeom>
              <a:avLst/>
              <a:gdLst>
                <a:gd name="T0" fmla="*/ 17 w 763"/>
                <a:gd name="T1" fmla="*/ 246 h 607"/>
                <a:gd name="T2" fmla="*/ 34 w 763"/>
                <a:gd name="T3" fmla="*/ 229 h 607"/>
                <a:gd name="T4" fmla="*/ 34 w 763"/>
                <a:gd name="T5" fmla="*/ 35 h 607"/>
                <a:gd name="T6" fmla="*/ 694 w 763"/>
                <a:gd name="T7" fmla="*/ 35 h 607"/>
                <a:gd name="T8" fmla="*/ 694 w 763"/>
                <a:gd name="T9" fmla="*/ 494 h 607"/>
                <a:gd name="T10" fmla="*/ 338 w 763"/>
                <a:gd name="T11" fmla="*/ 494 h 607"/>
                <a:gd name="T12" fmla="*/ 321 w 763"/>
                <a:gd name="T13" fmla="*/ 512 h 607"/>
                <a:gd name="T14" fmla="*/ 338 w 763"/>
                <a:gd name="T15" fmla="*/ 529 h 607"/>
                <a:gd name="T16" fmla="*/ 706 w 763"/>
                <a:gd name="T17" fmla="*/ 529 h 607"/>
                <a:gd name="T18" fmla="*/ 728 w 763"/>
                <a:gd name="T19" fmla="*/ 551 h 607"/>
                <a:gd name="T20" fmla="*/ 706 w 763"/>
                <a:gd name="T21" fmla="*/ 573 h 607"/>
                <a:gd name="T22" fmla="*/ 304 w 763"/>
                <a:gd name="T23" fmla="*/ 573 h 607"/>
                <a:gd name="T24" fmla="*/ 287 w 763"/>
                <a:gd name="T25" fmla="*/ 590 h 607"/>
                <a:gd name="T26" fmla="*/ 304 w 763"/>
                <a:gd name="T27" fmla="*/ 607 h 607"/>
                <a:gd name="T28" fmla="*/ 706 w 763"/>
                <a:gd name="T29" fmla="*/ 607 h 607"/>
                <a:gd name="T30" fmla="*/ 763 w 763"/>
                <a:gd name="T31" fmla="*/ 551 h 607"/>
                <a:gd name="T32" fmla="*/ 729 w 763"/>
                <a:gd name="T33" fmla="*/ 499 h 607"/>
                <a:gd name="T34" fmla="*/ 729 w 763"/>
                <a:gd name="T35" fmla="*/ 18 h 607"/>
                <a:gd name="T36" fmla="*/ 712 w 763"/>
                <a:gd name="T37" fmla="*/ 0 h 607"/>
                <a:gd name="T38" fmla="*/ 17 w 763"/>
                <a:gd name="T39" fmla="*/ 0 h 607"/>
                <a:gd name="T40" fmla="*/ 0 w 763"/>
                <a:gd name="T41" fmla="*/ 18 h 607"/>
                <a:gd name="T42" fmla="*/ 0 w 763"/>
                <a:gd name="T43" fmla="*/ 229 h 607"/>
                <a:gd name="T44" fmla="*/ 17 w 763"/>
                <a:gd name="T45" fmla="*/ 246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63" h="607">
                  <a:moveTo>
                    <a:pt x="17" y="246"/>
                  </a:moveTo>
                  <a:cubicBezTo>
                    <a:pt x="27" y="246"/>
                    <a:pt x="34" y="239"/>
                    <a:pt x="34" y="229"/>
                  </a:cubicBezTo>
                  <a:lnTo>
                    <a:pt x="34" y="35"/>
                  </a:lnTo>
                  <a:lnTo>
                    <a:pt x="694" y="35"/>
                  </a:lnTo>
                  <a:lnTo>
                    <a:pt x="694" y="494"/>
                  </a:lnTo>
                  <a:lnTo>
                    <a:pt x="338" y="494"/>
                  </a:lnTo>
                  <a:cubicBezTo>
                    <a:pt x="328" y="494"/>
                    <a:pt x="321" y="502"/>
                    <a:pt x="321" y="512"/>
                  </a:cubicBezTo>
                  <a:cubicBezTo>
                    <a:pt x="321" y="521"/>
                    <a:pt x="328" y="529"/>
                    <a:pt x="338" y="529"/>
                  </a:cubicBezTo>
                  <a:lnTo>
                    <a:pt x="706" y="529"/>
                  </a:lnTo>
                  <a:cubicBezTo>
                    <a:pt x="718" y="529"/>
                    <a:pt x="728" y="539"/>
                    <a:pt x="728" y="551"/>
                  </a:cubicBezTo>
                  <a:cubicBezTo>
                    <a:pt x="728" y="563"/>
                    <a:pt x="718" y="573"/>
                    <a:pt x="706" y="573"/>
                  </a:cubicBezTo>
                  <a:lnTo>
                    <a:pt x="304" y="573"/>
                  </a:lnTo>
                  <a:cubicBezTo>
                    <a:pt x="294" y="573"/>
                    <a:pt x="287" y="581"/>
                    <a:pt x="287" y="590"/>
                  </a:cubicBezTo>
                  <a:cubicBezTo>
                    <a:pt x="287" y="600"/>
                    <a:pt x="294" y="607"/>
                    <a:pt x="304" y="607"/>
                  </a:cubicBezTo>
                  <a:lnTo>
                    <a:pt x="706" y="607"/>
                  </a:lnTo>
                  <a:cubicBezTo>
                    <a:pt x="737" y="607"/>
                    <a:pt x="763" y="582"/>
                    <a:pt x="763" y="551"/>
                  </a:cubicBezTo>
                  <a:cubicBezTo>
                    <a:pt x="763" y="528"/>
                    <a:pt x="749" y="508"/>
                    <a:pt x="729" y="499"/>
                  </a:cubicBezTo>
                  <a:lnTo>
                    <a:pt x="729" y="18"/>
                  </a:lnTo>
                  <a:cubicBezTo>
                    <a:pt x="729" y="8"/>
                    <a:pt x="721" y="0"/>
                    <a:pt x="712" y="0"/>
                  </a:cubicBezTo>
                  <a:lnTo>
                    <a:pt x="17" y="0"/>
                  </a:lnTo>
                  <a:cubicBezTo>
                    <a:pt x="8" y="0"/>
                    <a:pt x="0" y="8"/>
                    <a:pt x="0" y="18"/>
                  </a:cubicBezTo>
                  <a:lnTo>
                    <a:pt x="0" y="229"/>
                  </a:lnTo>
                  <a:cubicBezTo>
                    <a:pt x="0" y="239"/>
                    <a:pt x="8" y="246"/>
                    <a:pt x="17" y="24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Freeform 50">
              <a:extLst>
                <a:ext uri="{FF2B5EF4-FFF2-40B4-BE49-F238E27FC236}">
                  <a16:creationId xmlns:a16="http://schemas.microsoft.com/office/drawing/2014/main" id="{76855C27-886D-F46E-EE25-B86F25D8A8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4089" y="3995738"/>
              <a:ext cx="325438" cy="158750"/>
            </a:xfrm>
            <a:custGeom>
              <a:avLst/>
              <a:gdLst>
                <a:gd name="T0" fmla="*/ 35 w 476"/>
                <a:gd name="T1" fmla="*/ 198 h 232"/>
                <a:gd name="T2" fmla="*/ 96 w 476"/>
                <a:gd name="T3" fmla="*/ 143 h 232"/>
                <a:gd name="T4" fmla="*/ 152 w 476"/>
                <a:gd name="T5" fmla="*/ 177 h 232"/>
                <a:gd name="T6" fmla="*/ 167 w 476"/>
                <a:gd name="T7" fmla="*/ 187 h 232"/>
                <a:gd name="T8" fmla="*/ 167 w 476"/>
                <a:gd name="T9" fmla="*/ 187 h 232"/>
                <a:gd name="T10" fmla="*/ 182 w 476"/>
                <a:gd name="T11" fmla="*/ 177 h 232"/>
                <a:gd name="T12" fmla="*/ 238 w 476"/>
                <a:gd name="T13" fmla="*/ 143 h 232"/>
                <a:gd name="T14" fmla="*/ 293 w 476"/>
                <a:gd name="T15" fmla="*/ 177 h 232"/>
                <a:gd name="T16" fmla="*/ 308 w 476"/>
                <a:gd name="T17" fmla="*/ 187 h 232"/>
                <a:gd name="T18" fmla="*/ 308 w 476"/>
                <a:gd name="T19" fmla="*/ 187 h 232"/>
                <a:gd name="T20" fmla="*/ 324 w 476"/>
                <a:gd name="T21" fmla="*/ 177 h 232"/>
                <a:gd name="T22" fmla="*/ 379 w 476"/>
                <a:gd name="T23" fmla="*/ 143 h 232"/>
                <a:gd name="T24" fmla="*/ 441 w 476"/>
                <a:gd name="T25" fmla="*/ 198 h 232"/>
                <a:gd name="T26" fmla="*/ 35 w 476"/>
                <a:gd name="T27" fmla="*/ 198 h 232"/>
                <a:gd name="T28" fmla="*/ 96 w 476"/>
                <a:gd name="T29" fmla="*/ 35 h 232"/>
                <a:gd name="T30" fmla="*/ 124 w 476"/>
                <a:gd name="T31" fmla="*/ 63 h 232"/>
                <a:gd name="T32" fmla="*/ 96 w 476"/>
                <a:gd name="T33" fmla="*/ 91 h 232"/>
                <a:gd name="T34" fmla="*/ 68 w 476"/>
                <a:gd name="T35" fmla="*/ 63 h 232"/>
                <a:gd name="T36" fmla="*/ 96 w 476"/>
                <a:gd name="T37" fmla="*/ 35 h 232"/>
                <a:gd name="T38" fmla="*/ 238 w 476"/>
                <a:gd name="T39" fmla="*/ 35 h 232"/>
                <a:gd name="T40" fmla="*/ 266 w 476"/>
                <a:gd name="T41" fmla="*/ 63 h 232"/>
                <a:gd name="T42" fmla="*/ 238 w 476"/>
                <a:gd name="T43" fmla="*/ 91 h 232"/>
                <a:gd name="T44" fmla="*/ 210 w 476"/>
                <a:gd name="T45" fmla="*/ 63 h 232"/>
                <a:gd name="T46" fmla="*/ 238 w 476"/>
                <a:gd name="T47" fmla="*/ 35 h 232"/>
                <a:gd name="T48" fmla="*/ 379 w 476"/>
                <a:gd name="T49" fmla="*/ 35 h 232"/>
                <a:gd name="T50" fmla="*/ 407 w 476"/>
                <a:gd name="T51" fmla="*/ 63 h 232"/>
                <a:gd name="T52" fmla="*/ 379 w 476"/>
                <a:gd name="T53" fmla="*/ 91 h 232"/>
                <a:gd name="T54" fmla="*/ 351 w 476"/>
                <a:gd name="T55" fmla="*/ 63 h 232"/>
                <a:gd name="T56" fmla="*/ 379 w 476"/>
                <a:gd name="T57" fmla="*/ 35 h 232"/>
                <a:gd name="T58" fmla="*/ 414 w 476"/>
                <a:gd name="T59" fmla="*/ 115 h 232"/>
                <a:gd name="T60" fmla="*/ 442 w 476"/>
                <a:gd name="T61" fmla="*/ 63 h 232"/>
                <a:gd name="T62" fmla="*/ 379 w 476"/>
                <a:gd name="T63" fmla="*/ 0 h 232"/>
                <a:gd name="T64" fmla="*/ 317 w 476"/>
                <a:gd name="T65" fmla="*/ 63 h 232"/>
                <a:gd name="T66" fmla="*/ 344 w 476"/>
                <a:gd name="T67" fmla="*/ 115 h 232"/>
                <a:gd name="T68" fmla="*/ 308 w 476"/>
                <a:gd name="T69" fmla="*/ 139 h 232"/>
                <a:gd name="T70" fmla="*/ 273 w 476"/>
                <a:gd name="T71" fmla="*/ 115 h 232"/>
                <a:gd name="T72" fmla="*/ 300 w 476"/>
                <a:gd name="T73" fmla="*/ 63 h 232"/>
                <a:gd name="T74" fmla="*/ 238 w 476"/>
                <a:gd name="T75" fmla="*/ 0 h 232"/>
                <a:gd name="T76" fmla="*/ 175 w 476"/>
                <a:gd name="T77" fmla="*/ 63 h 232"/>
                <a:gd name="T78" fmla="*/ 202 w 476"/>
                <a:gd name="T79" fmla="*/ 115 h 232"/>
                <a:gd name="T80" fmla="*/ 167 w 476"/>
                <a:gd name="T81" fmla="*/ 139 h 232"/>
                <a:gd name="T82" fmla="*/ 131 w 476"/>
                <a:gd name="T83" fmla="*/ 115 h 232"/>
                <a:gd name="T84" fmla="*/ 159 w 476"/>
                <a:gd name="T85" fmla="*/ 63 h 232"/>
                <a:gd name="T86" fmla="*/ 96 w 476"/>
                <a:gd name="T87" fmla="*/ 0 h 232"/>
                <a:gd name="T88" fmla="*/ 34 w 476"/>
                <a:gd name="T89" fmla="*/ 63 h 232"/>
                <a:gd name="T90" fmla="*/ 61 w 476"/>
                <a:gd name="T91" fmla="*/ 115 h 232"/>
                <a:gd name="T92" fmla="*/ 0 w 476"/>
                <a:gd name="T93" fmla="*/ 205 h 232"/>
                <a:gd name="T94" fmla="*/ 0 w 476"/>
                <a:gd name="T95" fmla="*/ 215 h 232"/>
                <a:gd name="T96" fmla="*/ 17 w 476"/>
                <a:gd name="T97" fmla="*/ 232 h 232"/>
                <a:gd name="T98" fmla="*/ 458 w 476"/>
                <a:gd name="T99" fmla="*/ 232 h 232"/>
                <a:gd name="T100" fmla="*/ 476 w 476"/>
                <a:gd name="T101" fmla="*/ 215 h 232"/>
                <a:gd name="T102" fmla="*/ 476 w 476"/>
                <a:gd name="T103" fmla="*/ 205 h 232"/>
                <a:gd name="T104" fmla="*/ 414 w 476"/>
                <a:gd name="T105" fmla="*/ 11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76" h="232">
                  <a:moveTo>
                    <a:pt x="35" y="198"/>
                  </a:moveTo>
                  <a:cubicBezTo>
                    <a:pt x="38" y="167"/>
                    <a:pt x="64" y="143"/>
                    <a:pt x="96" y="143"/>
                  </a:cubicBezTo>
                  <a:cubicBezTo>
                    <a:pt x="120" y="143"/>
                    <a:pt x="141" y="156"/>
                    <a:pt x="152" y="177"/>
                  </a:cubicBezTo>
                  <a:cubicBezTo>
                    <a:pt x="154" y="183"/>
                    <a:pt x="160" y="187"/>
                    <a:pt x="167" y="187"/>
                  </a:cubicBezTo>
                  <a:lnTo>
                    <a:pt x="167" y="187"/>
                  </a:lnTo>
                  <a:cubicBezTo>
                    <a:pt x="174" y="187"/>
                    <a:pt x="179" y="183"/>
                    <a:pt x="182" y="177"/>
                  </a:cubicBezTo>
                  <a:cubicBezTo>
                    <a:pt x="193" y="156"/>
                    <a:pt x="214" y="143"/>
                    <a:pt x="238" y="143"/>
                  </a:cubicBezTo>
                  <a:cubicBezTo>
                    <a:pt x="261" y="143"/>
                    <a:pt x="282" y="156"/>
                    <a:pt x="293" y="177"/>
                  </a:cubicBezTo>
                  <a:cubicBezTo>
                    <a:pt x="296" y="183"/>
                    <a:pt x="302" y="187"/>
                    <a:pt x="308" y="187"/>
                  </a:cubicBezTo>
                  <a:lnTo>
                    <a:pt x="308" y="187"/>
                  </a:lnTo>
                  <a:cubicBezTo>
                    <a:pt x="315" y="187"/>
                    <a:pt x="321" y="183"/>
                    <a:pt x="324" y="177"/>
                  </a:cubicBezTo>
                  <a:cubicBezTo>
                    <a:pt x="335" y="156"/>
                    <a:pt x="356" y="143"/>
                    <a:pt x="379" y="143"/>
                  </a:cubicBezTo>
                  <a:cubicBezTo>
                    <a:pt x="411" y="143"/>
                    <a:pt x="437" y="167"/>
                    <a:pt x="441" y="198"/>
                  </a:cubicBezTo>
                  <a:lnTo>
                    <a:pt x="35" y="198"/>
                  </a:lnTo>
                  <a:close/>
                  <a:moveTo>
                    <a:pt x="96" y="35"/>
                  </a:moveTo>
                  <a:cubicBezTo>
                    <a:pt x="112" y="35"/>
                    <a:pt x="124" y="47"/>
                    <a:pt x="124" y="63"/>
                  </a:cubicBezTo>
                  <a:cubicBezTo>
                    <a:pt x="124" y="79"/>
                    <a:pt x="112" y="91"/>
                    <a:pt x="96" y="91"/>
                  </a:cubicBezTo>
                  <a:cubicBezTo>
                    <a:pt x="81" y="91"/>
                    <a:pt x="68" y="79"/>
                    <a:pt x="68" y="63"/>
                  </a:cubicBezTo>
                  <a:cubicBezTo>
                    <a:pt x="68" y="47"/>
                    <a:pt x="81" y="35"/>
                    <a:pt x="96" y="35"/>
                  </a:cubicBezTo>
                  <a:close/>
                  <a:moveTo>
                    <a:pt x="238" y="35"/>
                  </a:moveTo>
                  <a:cubicBezTo>
                    <a:pt x="253" y="35"/>
                    <a:pt x="266" y="47"/>
                    <a:pt x="266" y="63"/>
                  </a:cubicBezTo>
                  <a:cubicBezTo>
                    <a:pt x="266" y="79"/>
                    <a:pt x="253" y="91"/>
                    <a:pt x="238" y="91"/>
                  </a:cubicBezTo>
                  <a:cubicBezTo>
                    <a:pt x="222" y="91"/>
                    <a:pt x="210" y="79"/>
                    <a:pt x="210" y="63"/>
                  </a:cubicBezTo>
                  <a:cubicBezTo>
                    <a:pt x="210" y="47"/>
                    <a:pt x="222" y="35"/>
                    <a:pt x="238" y="35"/>
                  </a:cubicBezTo>
                  <a:close/>
                  <a:moveTo>
                    <a:pt x="379" y="35"/>
                  </a:moveTo>
                  <a:cubicBezTo>
                    <a:pt x="395" y="35"/>
                    <a:pt x="407" y="47"/>
                    <a:pt x="407" y="63"/>
                  </a:cubicBezTo>
                  <a:cubicBezTo>
                    <a:pt x="407" y="79"/>
                    <a:pt x="395" y="91"/>
                    <a:pt x="379" y="91"/>
                  </a:cubicBezTo>
                  <a:cubicBezTo>
                    <a:pt x="364" y="91"/>
                    <a:pt x="351" y="79"/>
                    <a:pt x="351" y="63"/>
                  </a:cubicBezTo>
                  <a:cubicBezTo>
                    <a:pt x="351" y="47"/>
                    <a:pt x="364" y="35"/>
                    <a:pt x="379" y="35"/>
                  </a:cubicBezTo>
                  <a:close/>
                  <a:moveTo>
                    <a:pt x="414" y="115"/>
                  </a:moveTo>
                  <a:cubicBezTo>
                    <a:pt x="431" y="103"/>
                    <a:pt x="442" y="84"/>
                    <a:pt x="442" y="63"/>
                  </a:cubicBezTo>
                  <a:cubicBezTo>
                    <a:pt x="442" y="28"/>
                    <a:pt x="414" y="0"/>
                    <a:pt x="379" y="0"/>
                  </a:cubicBezTo>
                  <a:cubicBezTo>
                    <a:pt x="345" y="0"/>
                    <a:pt x="317" y="28"/>
                    <a:pt x="317" y="63"/>
                  </a:cubicBezTo>
                  <a:cubicBezTo>
                    <a:pt x="317" y="84"/>
                    <a:pt x="327" y="103"/>
                    <a:pt x="344" y="115"/>
                  </a:cubicBezTo>
                  <a:cubicBezTo>
                    <a:pt x="330" y="120"/>
                    <a:pt x="318" y="128"/>
                    <a:pt x="308" y="139"/>
                  </a:cubicBezTo>
                  <a:cubicBezTo>
                    <a:pt x="299" y="128"/>
                    <a:pt x="286" y="120"/>
                    <a:pt x="273" y="115"/>
                  </a:cubicBezTo>
                  <a:cubicBezTo>
                    <a:pt x="289" y="103"/>
                    <a:pt x="300" y="84"/>
                    <a:pt x="300" y="63"/>
                  </a:cubicBezTo>
                  <a:cubicBezTo>
                    <a:pt x="300" y="28"/>
                    <a:pt x="272" y="0"/>
                    <a:pt x="238" y="0"/>
                  </a:cubicBezTo>
                  <a:cubicBezTo>
                    <a:pt x="203" y="0"/>
                    <a:pt x="175" y="28"/>
                    <a:pt x="175" y="63"/>
                  </a:cubicBezTo>
                  <a:cubicBezTo>
                    <a:pt x="175" y="84"/>
                    <a:pt x="186" y="103"/>
                    <a:pt x="202" y="115"/>
                  </a:cubicBezTo>
                  <a:cubicBezTo>
                    <a:pt x="189" y="120"/>
                    <a:pt x="177" y="128"/>
                    <a:pt x="167" y="139"/>
                  </a:cubicBezTo>
                  <a:cubicBezTo>
                    <a:pt x="157" y="128"/>
                    <a:pt x="145" y="120"/>
                    <a:pt x="131" y="115"/>
                  </a:cubicBezTo>
                  <a:cubicBezTo>
                    <a:pt x="148" y="103"/>
                    <a:pt x="159" y="84"/>
                    <a:pt x="159" y="63"/>
                  </a:cubicBezTo>
                  <a:cubicBezTo>
                    <a:pt x="159" y="28"/>
                    <a:pt x="131" y="0"/>
                    <a:pt x="96" y="0"/>
                  </a:cubicBezTo>
                  <a:cubicBezTo>
                    <a:pt x="62" y="0"/>
                    <a:pt x="34" y="28"/>
                    <a:pt x="34" y="63"/>
                  </a:cubicBezTo>
                  <a:cubicBezTo>
                    <a:pt x="34" y="84"/>
                    <a:pt x="44" y="103"/>
                    <a:pt x="61" y="115"/>
                  </a:cubicBezTo>
                  <a:cubicBezTo>
                    <a:pt x="25" y="129"/>
                    <a:pt x="0" y="164"/>
                    <a:pt x="0" y="205"/>
                  </a:cubicBezTo>
                  <a:lnTo>
                    <a:pt x="0" y="215"/>
                  </a:lnTo>
                  <a:cubicBezTo>
                    <a:pt x="0" y="224"/>
                    <a:pt x="7" y="232"/>
                    <a:pt x="17" y="232"/>
                  </a:cubicBezTo>
                  <a:lnTo>
                    <a:pt x="458" y="232"/>
                  </a:lnTo>
                  <a:cubicBezTo>
                    <a:pt x="468" y="232"/>
                    <a:pt x="476" y="224"/>
                    <a:pt x="476" y="215"/>
                  </a:cubicBezTo>
                  <a:lnTo>
                    <a:pt x="476" y="205"/>
                  </a:lnTo>
                  <a:cubicBezTo>
                    <a:pt x="476" y="164"/>
                    <a:pt x="450" y="129"/>
                    <a:pt x="414" y="1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4" name="Freeform 51">
              <a:extLst>
                <a:ext uri="{FF2B5EF4-FFF2-40B4-BE49-F238E27FC236}">
                  <a16:creationId xmlns:a16="http://schemas.microsoft.com/office/drawing/2014/main" id="{71119B60-4B35-2EC8-FB09-C304EBF3DF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7239" y="3652838"/>
              <a:ext cx="419100" cy="501650"/>
            </a:xfrm>
            <a:custGeom>
              <a:avLst/>
              <a:gdLst>
                <a:gd name="T0" fmla="*/ 254 w 613"/>
                <a:gd name="T1" fmla="*/ 282 h 733"/>
                <a:gd name="T2" fmla="*/ 244 w 613"/>
                <a:gd name="T3" fmla="*/ 415 h 733"/>
                <a:gd name="T4" fmla="*/ 224 w 613"/>
                <a:gd name="T5" fmla="*/ 432 h 733"/>
                <a:gd name="T6" fmla="*/ 200 w 613"/>
                <a:gd name="T7" fmla="*/ 699 h 733"/>
                <a:gd name="T8" fmla="*/ 177 w 613"/>
                <a:gd name="T9" fmla="*/ 469 h 733"/>
                <a:gd name="T10" fmla="*/ 144 w 613"/>
                <a:gd name="T11" fmla="*/ 437 h 733"/>
                <a:gd name="T12" fmla="*/ 112 w 613"/>
                <a:gd name="T13" fmla="*/ 469 h 733"/>
                <a:gd name="T14" fmla="*/ 88 w 613"/>
                <a:gd name="T15" fmla="*/ 699 h 733"/>
                <a:gd name="T16" fmla="*/ 64 w 613"/>
                <a:gd name="T17" fmla="*/ 432 h 733"/>
                <a:gd name="T18" fmla="*/ 45 w 613"/>
                <a:gd name="T19" fmla="*/ 415 h 733"/>
                <a:gd name="T20" fmla="*/ 34 w 613"/>
                <a:gd name="T21" fmla="*/ 195 h 733"/>
                <a:gd name="T22" fmla="*/ 129 w 613"/>
                <a:gd name="T23" fmla="*/ 212 h 733"/>
                <a:gd name="T24" fmla="*/ 159 w 613"/>
                <a:gd name="T25" fmla="*/ 212 h 733"/>
                <a:gd name="T26" fmla="*/ 213 w 613"/>
                <a:gd name="T27" fmla="*/ 164 h 733"/>
                <a:gd name="T28" fmla="*/ 245 w 613"/>
                <a:gd name="T29" fmla="*/ 179 h 733"/>
                <a:gd name="T30" fmla="*/ 247 w 613"/>
                <a:gd name="T31" fmla="*/ 181 h 733"/>
                <a:gd name="T32" fmla="*/ 342 w 613"/>
                <a:gd name="T33" fmla="*/ 245 h 733"/>
                <a:gd name="T34" fmla="*/ 434 w 613"/>
                <a:gd name="T35" fmla="*/ 159 h 733"/>
                <a:gd name="T36" fmla="*/ 457 w 613"/>
                <a:gd name="T37" fmla="*/ 181 h 733"/>
                <a:gd name="T38" fmla="*/ 348 w 613"/>
                <a:gd name="T39" fmla="*/ 305 h 733"/>
                <a:gd name="T40" fmla="*/ 317 w 613"/>
                <a:gd name="T41" fmla="*/ 307 h 733"/>
                <a:gd name="T42" fmla="*/ 265 w 613"/>
                <a:gd name="T43" fmla="*/ 266 h 733"/>
                <a:gd name="T44" fmla="*/ 292 w 613"/>
                <a:gd name="T45" fmla="*/ 330 h 733"/>
                <a:gd name="T46" fmla="*/ 331 w 613"/>
                <a:gd name="T47" fmla="*/ 347 h 733"/>
                <a:gd name="T48" fmla="*/ 475 w 613"/>
                <a:gd name="T49" fmla="*/ 222 h 733"/>
                <a:gd name="T50" fmla="*/ 484 w 613"/>
                <a:gd name="T51" fmla="*/ 154 h 733"/>
                <a:gd name="T52" fmla="*/ 606 w 613"/>
                <a:gd name="T53" fmla="*/ 7 h 733"/>
                <a:gd name="T54" fmla="*/ 459 w 613"/>
                <a:gd name="T55" fmla="*/ 130 h 733"/>
                <a:gd name="T56" fmla="*/ 392 w 613"/>
                <a:gd name="T57" fmla="*/ 142 h 733"/>
                <a:gd name="T58" fmla="*/ 270 w 613"/>
                <a:gd name="T59" fmla="*/ 156 h 733"/>
                <a:gd name="T60" fmla="*/ 265 w 613"/>
                <a:gd name="T61" fmla="*/ 151 h 733"/>
                <a:gd name="T62" fmla="*/ 185 w 613"/>
                <a:gd name="T63" fmla="*/ 123 h 733"/>
                <a:gd name="T64" fmla="*/ 163 w 613"/>
                <a:gd name="T65" fmla="*/ 132 h 733"/>
                <a:gd name="T66" fmla="*/ 126 w 613"/>
                <a:gd name="T67" fmla="*/ 132 h 733"/>
                <a:gd name="T68" fmla="*/ 103 w 613"/>
                <a:gd name="T69" fmla="*/ 123 h 733"/>
                <a:gd name="T70" fmla="*/ 0 w 613"/>
                <a:gd name="T71" fmla="*/ 194 h 733"/>
                <a:gd name="T72" fmla="*/ 30 w 613"/>
                <a:gd name="T73" fmla="*/ 446 h 733"/>
                <a:gd name="T74" fmla="*/ 88 w 613"/>
                <a:gd name="T75" fmla="*/ 733 h 733"/>
                <a:gd name="T76" fmla="*/ 200 w 613"/>
                <a:gd name="T77" fmla="*/ 733 h 733"/>
                <a:gd name="T78" fmla="*/ 259 w 613"/>
                <a:gd name="T79" fmla="*/ 446 h 733"/>
                <a:gd name="T80" fmla="*/ 289 w 613"/>
                <a:gd name="T81" fmla="*/ 327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13" h="733">
                  <a:moveTo>
                    <a:pt x="265" y="266"/>
                  </a:moveTo>
                  <a:cubicBezTo>
                    <a:pt x="259" y="268"/>
                    <a:pt x="254" y="275"/>
                    <a:pt x="254" y="282"/>
                  </a:cubicBezTo>
                  <a:lnTo>
                    <a:pt x="254" y="403"/>
                  </a:lnTo>
                  <a:cubicBezTo>
                    <a:pt x="254" y="409"/>
                    <a:pt x="250" y="414"/>
                    <a:pt x="244" y="415"/>
                  </a:cubicBezTo>
                  <a:cubicBezTo>
                    <a:pt x="243" y="415"/>
                    <a:pt x="242" y="415"/>
                    <a:pt x="241" y="415"/>
                  </a:cubicBezTo>
                  <a:cubicBezTo>
                    <a:pt x="232" y="415"/>
                    <a:pt x="224" y="422"/>
                    <a:pt x="224" y="432"/>
                  </a:cubicBezTo>
                  <a:lnTo>
                    <a:pt x="224" y="675"/>
                  </a:lnTo>
                  <a:cubicBezTo>
                    <a:pt x="224" y="688"/>
                    <a:pt x="214" y="699"/>
                    <a:pt x="200" y="699"/>
                  </a:cubicBezTo>
                  <a:cubicBezTo>
                    <a:pt x="187" y="699"/>
                    <a:pt x="177" y="688"/>
                    <a:pt x="177" y="675"/>
                  </a:cubicBezTo>
                  <a:lnTo>
                    <a:pt x="177" y="469"/>
                  </a:lnTo>
                  <a:cubicBezTo>
                    <a:pt x="177" y="452"/>
                    <a:pt x="163" y="437"/>
                    <a:pt x="145" y="437"/>
                  </a:cubicBezTo>
                  <a:lnTo>
                    <a:pt x="144" y="437"/>
                  </a:lnTo>
                  <a:lnTo>
                    <a:pt x="144" y="437"/>
                  </a:lnTo>
                  <a:cubicBezTo>
                    <a:pt x="126" y="437"/>
                    <a:pt x="112" y="452"/>
                    <a:pt x="112" y="469"/>
                  </a:cubicBezTo>
                  <a:lnTo>
                    <a:pt x="112" y="675"/>
                  </a:lnTo>
                  <a:cubicBezTo>
                    <a:pt x="112" y="688"/>
                    <a:pt x="101" y="699"/>
                    <a:pt x="88" y="699"/>
                  </a:cubicBezTo>
                  <a:cubicBezTo>
                    <a:pt x="75" y="699"/>
                    <a:pt x="64" y="688"/>
                    <a:pt x="64" y="675"/>
                  </a:cubicBezTo>
                  <a:lnTo>
                    <a:pt x="64" y="432"/>
                  </a:lnTo>
                  <a:cubicBezTo>
                    <a:pt x="64" y="422"/>
                    <a:pt x="57" y="415"/>
                    <a:pt x="47" y="415"/>
                  </a:cubicBezTo>
                  <a:cubicBezTo>
                    <a:pt x="46" y="415"/>
                    <a:pt x="45" y="415"/>
                    <a:pt x="45" y="415"/>
                  </a:cubicBezTo>
                  <a:cubicBezTo>
                    <a:pt x="39" y="414"/>
                    <a:pt x="34" y="409"/>
                    <a:pt x="34" y="403"/>
                  </a:cubicBezTo>
                  <a:lnTo>
                    <a:pt x="34" y="195"/>
                  </a:lnTo>
                  <a:cubicBezTo>
                    <a:pt x="38" y="171"/>
                    <a:pt x="78" y="162"/>
                    <a:pt x="101" y="159"/>
                  </a:cubicBezTo>
                  <a:lnTo>
                    <a:pt x="129" y="212"/>
                  </a:lnTo>
                  <a:cubicBezTo>
                    <a:pt x="132" y="218"/>
                    <a:pt x="138" y="221"/>
                    <a:pt x="144" y="221"/>
                  </a:cubicBezTo>
                  <a:cubicBezTo>
                    <a:pt x="151" y="221"/>
                    <a:pt x="156" y="218"/>
                    <a:pt x="159" y="212"/>
                  </a:cubicBezTo>
                  <a:lnTo>
                    <a:pt x="188" y="159"/>
                  </a:lnTo>
                  <a:cubicBezTo>
                    <a:pt x="195" y="160"/>
                    <a:pt x="204" y="162"/>
                    <a:pt x="213" y="164"/>
                  </a:cubicBezTo>
                  <a:cubicBezTo>
                    <a:pt x="215" y="165"/>
                    <a:pt x="216" y="165"/>
                    <a:pt x="218" y="165"/>
                  </a:cubicBezTo>
                  <a:cubicBezTo>
                    <a:pt x="222" y="166"/>
                    <a:pt x="235" y="172"/>
                    <a:pt x="245" y="179"/>
                  </a:cubicBezTo>
                  <a:cubicBezTo>
                    <a:pt x="245" y="180"/>
                    <a:pt x="246" y="180"/>
                    <a:pt x="246" y="181"/>
                  </a:cubicBezTo>
                  <a:cubicBezTo>
                    <a:pt x="247" y="181"/>
                    <a:pt x="247" y="181"/>
                    <a:pt x="247" y="181"/>
                  </a:cubicBezTo>
                  <a:lnTo>
                    <a:pt x="318" y="245"/>
                  </a:lnTo>
                  <a:cubicBezTo>
                    <a:pt x="325" y="252"/>
                    <a:pt x="335" y="251"/>
                    <a:pt x="342" y="245"/>
                  </a:cubicBezTo>
                  <a:lnTo>
                    <a:pt x="417" y="166"/>
                  </a:lnTo>
                  <a:cubicBezTo>
                    <a:pt x="421" y="161"/>
                    <a:pt x="427" y="159"/>
                    <a:pt x="434" y="159"/>
                  </a:cubicBezTo>
                  <a:cubicBezTo>
                    <a:pt x="440" y="159"/>
                    <a:pt x="445" y="161"/>
                    <a:pt x="450" y="165"/>
                  </a:cubicBezTo>
                  <a:cubicBezTo>
                    <a:pt x="454" y="169"/>
                    <a:pt x="457" y="175"/>
                    <a:pt x="457" y="181"/>
                  </a:cubicBezTo>
                  <a:cubicBezTo>
                    <a:pt x="457" y="187"/>
                    <a:pt x="455" y="193"/>
                    <a:pt x="450" y="198"/>
                  </a:cubicBezTo>
                  <a:lnTo>
                    <a:pt x="348" y="305"/>
                  </a:lnTo>
                  <a:cubicBezTo>
                    <a:pt x="344" y="310"/>
                    <a:pt x="338" y="312"/>
                    <a:pt x="331" y="312"/>
                  </a:cubicBezTo>
                  <a:cubicBezTo>
                    <a:pt x="326" y="312"/>
                    <a:pt x="321" y="310"/>
                    <a:pt x="317" y="307"/>
                  </a:cubicBezTo>
                  <a:lnTo>
                    <a:pt x="284" y="270"/>
                  </a:lnTo>
                  <a:cubicBezTo>
                    <a:pt x="279" y="265"/>
                    <a:pt x="272" y="263"/>
                    <a:pt x="265" y="266"/>
                  </a:cubicBezTo>
                  <a:close/>
                  <a:moveTo>
                    <a:pt x="289" y="327"/>
                  </a:moveTo>
                  <a:lnTo>
                    <a:pt x="292" y="330"/>
                  </a:lnTo>
                  <a:cubicBezTo>
                    <a:pt x="292" y="331"/>
                    <a:pt x="292" y="331"/>
                    <a:pt x="293" y="332"/>
                  </a:cubicBezTo>
                  <a:cubicBezTo>
                    <a:pt x="303" y="341"/>
                    <a:pt x="317" y="347"/>
                    <a:pt x="331" y="347"/>
                  </a:cubicBezTo>
                  <a:cubicBezTo>
                    <a:pt x="347" y="347"/>
                    <a:pt x="362" y="340"/>
                    <a:pt x="373" y="329"/>
                  </a:cubicBezTo>
                  <a:lnTo>
                    <a:pt x="475" y="222"/>
                  </a:lnTo>
                  <a:cubicBezTo>
                    <a:pt x="486" y="210"/>
                    <a:pt x="492" y="196"/>
                    <a:pt x="491" y="180"/>
                  </a:cubicBezTo>
                  <a:cubicBezTo>
                    <a:pt x="491" y="171"/>
                    <a:pt x="489" y="162"/>
                    <a:pt x="484" y="154"/>
                  </a:cubicBezTo>
                  <a:lnTo>
                    <a:pt x="606" y="31"/>
                  </a:lnTo>
                  <a:cubicBezTo>
                    <a:pt x="613" y="24"/>
                    <a:pt x="613" y="13"/>
                    <a:pt x="606" y="7"/>
                  </a:cubicBezTo>
                  <a:cubicBezTo>
                    <a:pt x="599" y="0"/>
                    <a:pt x="588" y="0"/>
                    <a:pt x="582" y="7"/>
                  </a:cubicBezTo>
                  <a:lnTo>
                    <a:pt x="459" y="130"/>
                  </a:lnTo>
                  <a:cubicBezTo>
                    <a:pt x="451" y="126"/>
                    <a:pt x="443" y="124"/>
                    <a:pt x="434" y="124"/>
                  </a:cubicBezTo>
                  <a:cubicBezTo>
                    <a:pt x="418" y="124"/>
                    <a:pt x="403" y="131"/>
                    <a:pt x="392" y="142"/>
                  </a:cubicBezTo>
                  <a:lnTo>
                    <a:pt x="329" y="209"/>
                  </a:lnTo>
                  <a:lnTo>
                    <a:pt x="270" y="156"/>
                  </a:lnTo>
                  <a:cubicBezTo>
                    <a:pt x="269" y="154"/>
                    <a:pt x="267" y="153"/>
                    <a:pt x="266" y="152"/>
                  </a:cubicBezTo>
                  <a:cubicBezTo>
                    <a:pt x="266" y="152"/>
                    <a:pt x="265" y="151"/>
                    <a:pt x="265" y="151"/>
                  </a:cubicBezTo>
                  <a:cubicBezTo>
                    <a:pt x="254" y="144"/>
                    <a:pt x="234" y="132"/>
                    <a:pt x="221" y="131"/>
                  </a:cubicBezTo>
                  <a:cubicBezTo>
                    <a:pt x="207" y="127"/>
                    <a:pt x="194" y="125"/>
                    <a:pt x="185" y="123"/>
                  </a:cubicBezTo>
                  <a:cubicBezTo>
                    <a:pt x="184" y="123"/>
                    <a:pt x="182" y="123"/>
                    <a:pt x="181" y="123"/>
                  </a:cubicBezTo>
                  <a:cubicBezTo>
                    <a:pt x="174" y="122"/>
                    <a:pt x="166" y="125"/>
                    <a:pt x="163" y="132"/>
                  </a:cubicBezTo>
                  <a:lnTo>
                    <a:pt x="144" y="167"/>
                  </a:lnTo>
                  <a:lnTo>
                    <a:pt x="126" y="132"/>
                  </a:lnTo>
                  <a:cubicBezTo>
                    <a:pt x="122" y="125"/>
                    <a:pt x="115" y="122"/>
                    <a:pt x="108" y="123"/>
                  </a:cubicBezTo>
                  <a:cubicBezTo>
                    <a:pt x="106" y="123"/>
                    <a:pt x="105" y="123"/>
                    <a:pt x="103" y="123"/>
                  </a:cubicBezTo>
                  <a:cubicBezTo>
                    <a:pt x="77" y="127"/>
                    <a:pt x="6" y="138"/>
                    <a:pt x="0" y="192"/>
                  </a:cubicBezTo>
                  <a:cubicBezTo>
                    <a:pt x="0" y="193"/>
                    <a:pt x="0" y="194"/>
                    <a:pt x="0" y="194"/>
                  </a:cubicBezTo>
                  <a:lnTo>
                    <a:pt x="0" y="403"/>
                  </a:lnTo>
                  <a:cubicBezTo>
                    <a:pt x="0" y="423"/>
                    <a:pt x="12" y="440"/>
                    <a:pt x="30" y="446"/>
                  </a:cubicBezTo>
                  <a:lnTo>
                    <a:pt x="30" y="675"/>
                  </a:lnTo>
                  <a:cubicBezTo>
                    <a:pt x="30" y="707"/>
                    <a:pt x="56" y="733"/>
                    <a:pt x="88" y="733"/>
                  </a:cubicBezTo>
                  <a:cubicBezTo>
                    <a:pt x="115" y="733"/>
                    <a:pt x="137" y="715"/>
                    <a:pt x="144" y="690"/>
                  </a:cubicBezTo>
                  <a:cubicBezTo>
                    <a:pt x="151" y="715"/>
                    <a:pt x="174" y="733"/>
                    <a:pt x="200" y="733"/>
                  </a:cubicBezTo>
                  <a:cubicBezTo>
                    <a:pt x="233" y="733"/>
                    <a:pt x="259" y="707"/>
                    <a:pt x="259" y="675"/>
                  </a:cubicBezTo>
                  <a:lnTo>
                    <a:pt x="259" y="446"/>
                  </a:lnTo>
                  <a:cubicBezTo>
                    <a:pt x="276" y="440"/>
                    <a:pt x="289" y="423"/>
                    <a:pt x="289" y="403"/>
                  </a:cubicBezTo>
                  <a:lnTo>
                    <a:pt x="289" y="3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0960" tIns="30480" rIns="60960" bIns="3048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fr-FR" sz="12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5" name="Gruppo 74">
            <a:extLst>
              <a:ext uri="{FF2B5EF4-FFF2-40B4-BE49-F238E27FC236}">
                <a16:creationId xmlns:a16="http://schemas.microsoft.com/office/drawing/2014/main" id="{5EE12F5D-01D8-9729-A144-3E9071850B9F}"/>
              </a:ext>
            </a:extLst>
          </p:cNvPr>
          <p:cNvGrpSpPr/>
          <p:nvPr/>
        </p:nvGrpSpPr>
        <p:grpSpPr>
          <a:xfrm>
            <a:off x="9006348" y="4518741"/>
            <a:ext cx="2170620" cy="841136"/>
            <a:chOff x="2159315" y="4444297"/>
            <a:chExt cx="3167902" cy="990173"/>
          </a:xfrm>
        </p:grpSpPr>
        <p:sp>
          <p:nvSpPr>
            <p:cNvPr id="76" name="Rectangle: Rounded Corners 27">
              <a:extLst>
                <a:ext uri="{FF2B5EF4-FFF2-40B4-BE49-F238E27FC236}">
                  <a16:creationId xmlns:a16="http://schemas.microsoft.com/office/drawing/2014/main" id="{B73658FD-56AD-1B63-6B41-7F29A484F19B}"/>
                </a:ext>
              </a:extLst>
            </p:cNvPr>
            <p:cNvSpPr/>
            <p:nvPr/>
          </p:nvSpPr>
          <p:spPr>
            <a:xfrm>
              <a:off x="2159315" y="4444297"/>
              <a:ext cx="3165626" cy="990173"/>
            </a:xfrm>
            <a:prstGeom prst="roundRect">
              <a:avLst>
                <a:gd name="adj" fmla="val 8526"/>
              </a:avLst>
            </a:prstGeom>
            <a:ln>
              <a:solidFill>
                <a:schemeClr val="accent6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333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7" name="CasellaDiTesto 76">
              <a:extLst>
                <a:ext uri="{FF2B5EF4-FFF2-40B4-BE49-F238E27FC236}">
                  <a16:creationId xmlns:a16="http://schemas.microsoft.com/office/drawing/2014/main" id="{237A1E45-63FD-B531-C634-C2705059A2E6}"/>
                </a:ext>
              </a:extLst>
            </p:cNvPr>
            <p:cNvSpPr txBox="1"/>
            <p:nvPr/>
          </p:nvSpPr>
          <p:spPr>
            <a:xfrm>
              <a:off x="2161590" y="4461276"/>
              <a:ext cx="3165627" cy="8695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b="1" dirty="0">
                  <a:solidFill>
                    <a:srgbClr val="0066CC"/>
                  </a:solidFill>
                </a:rPr>
                <a:t>Limite</a:t>
              </a:r>
            </a:p>
            <a:p>
              <a:pPr algn="ctr"/>
              <a:r>
                <a:rPr lang="it-IT" sz="1400" dirty="0">
                  <a:solidFill>
                    <a:srgbClr val="0066CC"/>
                  </a:solidFill>
                </a:rPr>
                <a:t>10% beni strumentali</a:t>
              </a:r>
            </a:p>
            <a:p>
              <a:pPr algn="ctr"/>
              <a:r>
                <a:rPr lang="it-IT" sz="1400" dirty="0">
                  <a:solidFill>
                    <a:srgbClr val="0066CC"/>
                  </a:solidFill>
                </a:rPr>
                <a:t>300.000 EUR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71AC2ED-0679-FC2B-43B0-AEAC83572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Base di calcolo del credito</a:t>
            </a:r>
          </a:p>
        </p:txBody>
      </p:sp>
      <p:sp>
        <p:nvSpPr>
          <p:cNvPr id="7" name="object 41">
            <a:extLst>
              <a:ext uri="{FF2B5EF4-FFF2-40B4-BE49-F238E27FC236}">
                <a16:creationId xmlns:a16="http://schemas.microsoft.com/office/drawing/2014/main" id="{9354C46A-D9E8-BFA0-D9AC-AFB7C9980ADA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p:pic>
        <p:nvPicPr>
          <p:cNvPr id="9" name="Elemento grafico 8" descr="Avviso con riempimento a tinta unita">
            <a:extLst>
              <a:ext uri="{FF2B5EF4-FFF2-40B4-BE49-F238E27FC236}">
                <a16:creationId xmlns:a16="http://schemas.microsoft.com/office/drawing/2014/main" id="{F0FD2984-3B8E-3BA2-3AFA-7D95E4855A7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72073" y="4928062"/>
            <a:ext cx="538635" cy="538635"/>
          </a:xfrm>
          <a:prstGeom prst="rect">
            <a:avLst/>
          </a:prstGeom>
        </p:spPr>
      </p:pic>
      <p:sp>
        <p:nvSpPr>
          <p:cNvPr id="14" name="Rectangle: Rounded Corners 27">
            <a:extLst>
              <a:ext uri="{FF2B5EF4-FFF2-40B4-BE49-F238E27FC236}">
                <a16:creationId xmlns:a16="http://schemas.microsoft.com/office/drawing/2014/main" id="{762B6D0D-2BF6-09E3-DF30-50FCE6930912}"/>
              </a:ext>
            </a:extLst>
          </p:cNvPr>
          <p:cNvSpPr/>
          <p:nvPr/>
        </p:nvSpPr>
        <p:spPr>
          <a:xfrm>
            <a:off x="1483860" y="4518741"/>
            <a:ext cx="2169061" cy="841136"/>
          </a:xfrm>
          <a:prstGeom prst="roundRect">
            <a:avLst>
              <a:gd name="adj" fmla="val 8526"/>
            </a:avLst>
          </a:prstGeom>
          <a:ln>
            <a:solidFill>
              <a:schemeClr val="accent6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33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CF9065CC-F823-D1DE-14BF-AE9FB9E461AF}"/>
              </a:ext>
            </a:extLst>
          </p:cNvPr>
          <p:cNvSpPr/>
          <p:nvPr/>
        </p:nvSpPr>
        <p:spPr>
          <a:xfrm>
            <a:off x="8483716" y="3423989"/>
            <a:ext cx="3214323" cy="880176"/>
          </a:xfrm>
          <a:prstGeom prst="roundRect">
            <a:avLst/>
          </a:prstGeom>
          <a:solidFill>
            <a:schemeClr val="accent6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Attività di formazione</a:t>
            </a:r>
            <a:endParaRPr lang="it-IT" sz="1200" b="1" dirty="0">
              <a:solidFill>
                <a:schemeClr val="bg1"/>
              </a:solidFill>
            </a:endParaRPr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AB88D884-6A8C-35DC-E556-D230E1DF3DC1}"/>
              </a:ext>
            </a:extLst>
          </p:cNvPr>
          <p:cNvSpPr/>
          <p:nvPr/>
        </p:nvSpPr>
        <p:spPr>
          <a:xfrm>
            <a:off x="4633969" y="1019361"/>
            <a:ext cx="3214323" cy="880176"/>
          </a:xfrm>
          <a:prstGeom prst="roundRect">
            <a:avLst/>
          </a:prstGeom>
          <a:solidFill>
            <a:srgbClr val="0066CC"/>
          </a:solidFill>
          <a:ln w="3810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Beni strumentali materiali e immateriali strumentali tecnologicamente avanzati (A+B)</a:t>
            </a: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52535510-EC33-4C94-5D1D-4BDA13505E37}"/>
              </a:ext>
            </a:extLst>
          </p:cNvPr>
          <p:cNvSpPr txBox="1"/>
          <p:nvPr/>
        </p:nvSpPr>
        <p:spPr>
          <a:xfrm>
            <a:off x="1505476" y="4606790"/>
            <a:ext cx="216906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 dirty="0">
                <a:solidFill>
                  <a:srgbClr val="0066CC"/>
                </a:solidFill>
              </a:rPr>
              <a:t>Maggiorazione</a:t>
            </a:r>
          </a:p>
          <a:p>
            <a:pPr algn="ctr"/>
            <a:r>
              <a:rPr lang="it-IT" sz="1400" dirty="0">
                <a:solidFill>
                  <a:srgbClr val="0066CC"/>
                </a:solidFill>
              </a:rPr>
              <a:t>Moduli fotovoltaici UE ad alta efficienza energetica</a:t>
            </a:r>
          </a:p>
        </p:txBody>
      </p:sp>
      <p:pic>
        <p:nvPicPr>
          <p:cNvPr id="57" name="Elemento grafico 56" descr="Avviso con riempimento a tinta unita">
            <a:extLst>
              <a:ext uri="{FF2B5EF4-FFF2-40B4-BE49-F238E27FC236}">
                <a16:creationId xmlns:a16="http://schemas.microsoft.com/office/drawing/2014/main" id="{BC3EB4DA-15AF-18B6-BBD6-3021DF0D039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7629" y="4962274"/>
            <a:ext cx="538635" cy="53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918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D2F1E9-DA2A-86F5-CD9C-A03D394B67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uppo 79">
            <a:extLst>
              <a:ext uri="{FF2B5EF4-FFF2-40B4-BE49-F238E27FC236}">
                <a16:creationId xmlns:a16="http://schemas.microsoft.com/office/drawing/2014/main" id="{18BB0F20-10C4-5D84-C6EA-0E94092AD39A}"/>
              </a:ext>
            </a:extLst>
          </p:cNvPr>
          <p:cNvGrpSpPr/>
          <p:nvPr/>
        </p:nvGrpSpPr>
        <p:grpSpPr>
          <a:xfrm>
            <a:off x="0" y="5969746"/>
            <a:ext cx="12192000" cy="900641"/>
            <a:chOff x="0" y="8954619"/>
            <a:chExt cx="18288000" cy="1350961"/>
          </a:xfrm>
        </p:grpSpPr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0A38C7CE-7474-A2DB-994A-2E342D628222}"/>
                </a:ext>
              </a:extLst>
            </p:cNvPr>
            <p:cNvSpPr/>
            <p:nvPr/>
          </p:nvSpPr>
          <p:spPr>
            <a:xfrm>
              <a:off x="0" y="8954619"/>
              <a:ext cx="18288000" cy="1350961"/>
            </a:xfrm>
            <a:prstGeom prst="rect">
              <a:avLst/>
            </a:prstGeom>
            <a:solidFill>
              <a:srgbClr val="0066CC"/>
            </a:solidFill>
          </p:spPr>
          <p:txBody>
            <a:bodyPr/>
            <a:lstStyle/>
            <a:p>
              <a:endParaRPr lang="it-IT" sz="1200" dirty="0"/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3DD6308F-A87A-AB97-A78A-DF00E9A6FE42}"/>
                </a:ext>
              </a:extLst>
            </p:cNvPr>
            <p:cNvSpPr/>
            <p:nvPr/>
          </p:nvSpPr>
          <p:spPr>
            <a:xfrm>
              <a:off x="1395421" y="9105860"/>
              <a:ext cx="3773510" cy="1058526"/>
            </a:xfrm>
            <a:custGeom>
              <a:avLst/>
              <a:gdLst/>
              <a:ahLst/>
              <a:cxnLst/>
              <a:rect l="l" t="t" r="r" b="b"/>
              <a:pathLst>
                <a:path w="3773510" h="1058526">
                  <a:moveTo>
                    <a:pt x="0" y="0"/>
                  </a:moveTo>
                  <a:lnTo>
                    <a:pt x="3773510" y="0"/>
                  </a:lnTo>
                  <a:lnTo>
                    <a:pt x="3773510" y="1058526"/>
                  </a:lnTo>
                  <a:lnTo>
                    <a:pt x="0" y="105852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it-IT" sz="1200"/>
            </a:p>
          </p:txBody>
        </p:sp>
        <p:sp>
          <p:nvSpPr>
            <p:cNvPr id="22" name="TextBox 5">
              <a:extLst>
                <a:ext uri="{FF2B5EF4-FFF2-40B4-BE49-F238E27FC236}">
                  <a16:creationId xmlns:a16="http://schemas.microsoft.com/office/drawing/2014/main" id="{1C3E84C6-E80C-15C7-1E11-18C2ADF6E823}"/>
                </a:ext>
              </a:extLst>
            </p:cNvPr>
            <p:cNvSpPr txBox="1"/>
            <p:nvPr/>
          </p:nvSpPr>
          <p:spPr>
            <a:xfrm>
              <a:off x="7946393" y="9285034"/>
              <a:ext cx="9720788" cy="3349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1710"/>
                </a:lnSpc>
              </a:pPr>
              <a:endParaRPr lang="en-US" sz="1555" dirty="0">
                <a:solidFill>
                  <a:srgbClr val="FFFFFF"/>
                </a:solidFill>
                <a:latin typeface="Titillium Web Bold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AC97622-5FC5-3F5C-9502-B8203E837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Misura del beneficio (1/3)</a:t>
            </a:r>
          </a:p>
        </p:txBody>
      </p:sp>
      <p:sp>
        <p:nvSpPr>
          <p:cNvPr id="7" name="object 41">
            <a:extLst>
              <a:ext uri="{FF2B5EF4-FFF2-40B4-BE49-F238E27FC236}">
                <a16:creationId xmlns:a16="http://schemas.microsoft.com/office/drawing/2014/main" id="{D9D2D654-4786-A778-1790-1D606E711296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16" name="Input penna 15">
                <a:extLst>
                  <a:ext uri="{FF2B5EF4-FFF2-40B4-BE49-F238E27FC236}">
                    <a16:creationId xmlns:a16="http://schemas.microsoft.com/office/drawing/2014/main" id="{46B8CB54-6BD4-4699-FEF0-D232A065188A}"/>
                  </a:ext>
                </a:extLst>
              </p14:cNvPr>
              <p14:cNvContentPartPr/>
              <p14:nvPr/>
            </p14:nvContentPartPr>
            <p14:xfrm>
              <a:off x="5997565" y="2231756"/>
              <a:ext cx="360" cy="360"/>
            </p14:xfrm>
          </p:contentPart>
        </mc:Choice>
        <mc:Fallback xmlns="">
          <p:pic>
            <p:nvPicPr>
              <p:cNvPr id="16" name="Input penna 15">
                <a:extLst>
                  <a:ext uri="{FF2B5EF4-FFF2-40B4-BE49-F238E27FC236}">
                    <a16:creationId xmlns:a16="http://schemas.microsoft.com/office/drawing/2014/main" id="{46B8CB54-6BD4-4699-FEF0-D232A065188A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88565" y="2222756"/>
                <a:ext cx="18000" cy="18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014083"/>
              </p:ext>
            </p:extLst>
          </p:nvPr>
        </p:nvGraphicFramePr>
        <p:xfrm>
          <a:off x="228600" y="1102307"/>
          <a:ext cx="11644558" cy="45720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2360930">
                  <a:extLst>
                    <a:ext uri="{9D8B030D-6E8A-4147-A177-3AD203B41FA5}">
                      <a16:colId xmlns:a16="http://schemas.microsoft.com/office/drawing/2014/main" val="868181549"/>
                    </a:ext>
                  </a:extLst>
                </a:gridCol>
                <a:gridCol w="2966197">
                  <a:extLst>
                    <a:ext uri="{9D8B030D-6E8A-4147-A177-3AD203B41FA5}">
                      <a16:colId xmlns:a16="http://schemas.microsoft.com/office/drawing/2014/main" val="560540996"/>
                    </a:ext>
                  </a:extLst>
                </a:gridCol>
                <a:gridCol w="3181618">
                  <a:extLst>
                    <a:ext uri="{9D8B030D-6E8A-4147-A177-3AD203B41FA5}">
                      <a16:colId xmlns:a16="http://schemas.microsoft.com/office/drawing/2014/main" val="999308459"/>
                    </a:ext>
                  </a:extLst>
                </a:gridCol>
                <a:gridCol w="3135813">
                  <a:extLst>
                    <a:ext uri="{9D8B030D-6E8A-4147-A177-3AD203B41FA5}">
                      <a16:colId xmlns:a16="http://schemas.microsoft.com/office/drawing/2014/main" val="611222885"/>
                    </a:ext>
                  </a:extLst>
                </a:gridCol>
              </a:tblGrid>
              <a:tr h="888218">
                <a:tc row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Quota di investimento</a:t>
                      </a:r>
                    </a:p>
                    <a:p>
                      <a:endParaRPr lang="it-IT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CC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bg1"/>
                          </a:solidFill>
                        </a:rPr>
                        <a:t>Riduzione</a:t>
                      </a:r>
                      <a:r>
                        <a:rPr lang="it-IT" b="1" baseline="0" dirty="0">
                          <a:solidFill>
                            <a:schemeClr val="bg1"/>
                          </a:solidFill>
                        </a:rPr>
                        <a:t> consumi energetici</a:t>
                      </a:r>
                      <a:endParaRPr lang="it-IT" b="1" dirty="0">
                        <a:solidFill>
                          <a:schemeClr val="bg1"/>
                        </a:solidFill>
                      </a:endParaRPr>
                    </a:p>
                    <a:p>
                      <a:endParaRPr lang="it-IT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5928578"/>
                  </a:ext>
                </a:extLst>
              </a:tr>
              <a:tr h="869482"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800" b="0" dirty="0">
                          <a:solidFill>
                            <a:schemeClr val="bg1"/>
                          </a:solidFill>
                        </a:rPr>
                        <a:t>Unità produttiva: dal 3 al 6%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800" b="0" dirty="0">
                          <a:solidFill>
                            <a:schemeClr val="bg1"/>
                          </a:solidFill>
                        </a:rPr>
                        <a:t>Processo: dal 5 al 10%</a:t>
                      </a:r>
                    </a:p>
                    <a:p>
                      <a:endParaRPr lang="it-IT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800" b="0" dirty="0">
                          <a:solidFill>
                            <a:schemeClr val="bg1"/>
                          </a:solidFill>
                        </a:rPr>
                        <a:t>Unità produttiva: dal 6 al 10%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800" b="0" dirty="0">
                          <a:solidFill>
                            <a:schemeClr val="bg1"/>
                          </a:solidFill>
                        </a:rPr>
                        <a:t>Processo: dal 10 al 15%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it-IT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800" b="0" dirty="0">
                          <a:solidFill>
                            <a:schemeClr val="bg1"/>
                          </a:solidFill>
                        </a:rPr>
                        <a:t>Unità produttiva: almeno 10%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800" b="0" dirty="0">
                          <a:solidFill>
                            <a:schemeClr val="bg1"/>
                          </a:solidFill>
                        </a:rPr>
                        <a:t>Processo: almeno 15%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it-IT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416909"/>
                  </a:ext>
                </a:extLst>
              </a:tr>
              <a:tr h="869482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>
                          <a:solidFill>
                            <a:schemeClr val="bg1"/>
                          </a:solidFill>
                        </a:rPr>
                        <a:t>fino a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>
                          <a:solidFill>
                            <a:schemeClr val="bg1"/>
                          </a:solidFill>
                        </a:rPr>
                        <a:t>2,5 ml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3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4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4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7865389"/>
                  </a:ext>
                </a:extLst>
              </a:tr>
              <a:tr h="869482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>
                          <a:solidFill>
                            <a:schemeClr val="bg1"/>
                          </a:solidFill>
                        </a:rPr>
                        <a:t>da 2,5 mln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>
                          <a:solidFill>
                            <a:schemeClr val="bg1"/>
                          </a:solidFill>
                        </a:rPr>
                        <a:t>a 10 ml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2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25%</a:t>
                      </a:r>
                    </a:p>
                    <a:p>
                      <a:pPr algn="ctr"/>
                      <a:endParaRPr lang="it-IT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7217058"/>
                  </a:ext>
                </a:extLst>
              </a:tr>
              <a:tr h="888218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dirty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>
                          <a:solidFill>
                            <a:schemeClr val="bg1"/>
                          </a:solidFill>
                        </a:rPr>
                        <a:t>da 10 mln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>
                          <a:solidFill>
                            <a:schemeClr val="bg1"/>
                          </a:solidFill>
                        </a:rPr>
                        <a:t>a 50 ml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1" dirty="0">
                        <a:solidFill>
                          <a:schemeClr val="tx2"/>
                        </a:solidFill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1" dirty="0">
                          <a:solidFill>
                            <a:schemeClr val="tx2"/>
                          </a:solidFill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49811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56322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C42A72-295A-2C06-9DEC-7C6CEBFD81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uppo 79">
            <a:extLst>
              <a:ext uri="{FF2B5EF4-FFF2-40B4-BE49-F238E27FC236}">
                <a16:creationId xmlns:a16="http://schemas.microsoft.com/office/drawing/2014/main" id="{A6DEDD81-541B-D723-0D8F-193DBD254E88}"/>
              </a:ext>
            </a:extLst>
          </p:cNvPr>
          <p:cNvGrpSpPr/>
          <p:nvPr/>
        </p:nvGrpSpPr>
        <p:grpSpPr>
          <a:xfrm>
            <a:off x="0" y="5969746"/>
            <a:ext cx="12192000" cy="900641"/>
            <a:chOff x="0" y="8954619"/>
            <a:chExt cx="18288000" cy="1350961"/>
          </a:xfrm>
        </p:grpSpPr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C787AB25-8DE1-63BE-E638-FC37F1C93445}"/>
                </a:ext>
              </a:extLst>
            </p:cNvPr>
            <p:cNvSpPr/>
            <p:nvPr/>
          </p:nvSpPr>
          <p:spPr>
            <a:xfrm>
              <a:off x="0" y="8954619"/>
              <a:ext cx="18288000" cy="1350961"/>
            </a:xfrm>
            <a:prstGeom prst="rect">
              <a:avLst/>
            </a:prstGeom>
            <a:solidFill>
              <a:srgbClr val="0066CC"/>
            </a:solidFill>
          </p:spPr>
          <p:txBody>
            <a:bodyPr/>
            <a:lstStyle/>
            <a:p>
              <a:endParaRPr lang="it-IT" sz="1200" dirty="0"/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CCCED02B-127C-9CBE-3442-E7E4EC7F0322}"/>
                </a:ext>
              </a:extLst>
            </p:cNvPr>
            <p:cNvSpPr/>
            <p:nvPr/>
          </p:nvSpPr>
          <p:spPr>
            <a:xfrm>
              <a:off x="1395421" y="9105860"/>
              <a:ext cx="3773510" cy="1058526"/>
            </a:xfrm>
            <a:custGeom>
              <a:avLst/>
              <a:gdLst/>
              <a:ahLst/>
              <a:cxnLst/>
              <a:rect l="l" t="t" r="r" b="b"/>
              <a:pathLst>
                <a:path w="3773510" h="1058526">
                  <a:moveTo>
                    <a:pt x="0" y="0"/>
                  </a:moveTo>
                  <a:lnTo>
                    <a:pt x="3773510" y="0"/>
                  </a:lnTo>
                  <a:lnTo>
                    <a:pt x="3773510" y="1058526"/>
                  </a:lnTo>
                  <a:lnTo>
                    <a:pt x="0" y="105852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it-IT" sz="1200"/>
            </a:p>
          </p:txBody>
        </p:sp>
        <p:sp>
          <p:nvSpPr>
            <p:cNvPr id="22" name="TextBox 5">
              <a:extLst>
                <a:ext uri="{FF2B5EF4-FFF2-40B4-BE49-F238E27FC236}">
                  <a16:creationId xmlns:a16="http://schemas.microsoft.com/office/drawing/2014/main" id="{2F5BC1AB-F31A-9C7F-FC52-637FD498F1EC}"/>
                </a:ext>
              </a:extLst>
            </p:cNvPr>
            <p:cNvSpPr txBox="1"/>
            <p:nvPr/>
          </p:nvSpPr>
          <p:spPr>
            <a:xfrm>
              <a:off x="7946393" y="9285034"/>
              <a:ext cx="9720788" cy="3349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1710"/>
                </a:lnSpc>
              </a:pPr>
              <a:endParaRPr lang="en-US" sz="1555" dirty="0">
                <a:solidFill>
                  <a:srgbClr val="FFFFFF"/>
                </a:solidFill>
                <a:latin typeface="Titillium Web Bold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6A3667-1460-8C3F-FC4D-1CECFAD5A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Misura del beneficio (2/3)</a:t>
            </a:r>
          </a:p>
        </p:txBody>
      </p:sp>
      <p:sp>
        <p:nvSpPr>
          <p:cNvPr id="7" name="object 41">
            <a:extLst>
              <a:ext uri="{FF2B5EF4-FFF2-40B4-BE49-F238E27FC236}">
                <a16:creationId xmlns:a16="http://schemas.microsoft.com/office/drawing/2014/main" id="{C197C96C-EABE-25BF-B096-C7DCAAA21A0A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16" name="Input penna 15">
                <a:extLst>
                  <a:ext uri="{FF2B5EF4-FFF2-40B4-BE49-F238E27FC236}">
                    <a16:creationId xmlns:a16="http://schemas.microsoft.com/office/drawing/2014/main" id="{8BF3363A-D27C-1FA2-C4DE-808DABB8286F}"/>
                  </a:ext>
                </a:extLst>
              </p14:cNvPr>
              <p14:cNvContentPartPr/>
              <p14:nvPr/>
            </p14:nvContentPartPr>
            <p14:xfrm>
              <a:off x="5997565" y="2231756"/>
              <a:ext cx="360" cy="360"/>
            </p14:xfrm>
          </p:contentPart>
        </mc:Choice>
        <mc:Fallback xmlns="">
          <p:pic>
            <p:nvPicPr>
              <p:cNvPr id="16" name="Input penna 15">
                <a:extLst>
                  <a:ext uri="{FF2B5EF4-FFF2-40B4-BE49-F238E27FC236}">
                    <a16:creationId xmlns:a16="http://schemas.microsoft.com/office/drawing/2014/main" id="{8BF3363A-D27C-1FA2-C4DE-808DABB8286F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88565" y="2222756"/>
                <a:ext cx="18000" cy="18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95DBCF11-D5A5-596E-4D27-AD461AC2CB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3461388"/>
              </p:ext>
            </p:extLst>
          </p:nvPr>
        </p:nvGraphicFramePr>
        <p:xfrm>
          <a:off x="3873639" y="1032568"/>
          <a:ext cx="7904481" cy="4920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E1FA36BC-9981-88E9-62D9-2987B9854AFC}"/>
              </a:ext>
            </a:extLst>
          </p:cNvPr>
          <p:cNvSpPr/>
          <p:nvPr/>
        </p:nvSpPr>
        <p:spPr>
          <a:xfrm>
            <a:off x="930281" y="2231756"/>
            <a:ext cx="2387600" cy="1371597"/>
          </a:xfrm>
          <a:prstGeom prst="roundRect">
            <a:avLst/>
          </a:prstGeom>
          <a:solidFill>
            <a:srgbClr val="0066CC"/>
          </a:solidFill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bg1"/>
                </a:solidFill>
              </a:rPr>
              <a:t>Investimento</a:t>
            </a:r>
            <a:r>
              <a:rPr lang="it-IT" dirty="0">
                <a:solidFill>
                  <a:srgbClr val="0066CC"/>
                </a:solidFill>
              </a:rPr>
              <a:t> </a:t>
            </a:r>
          </a:p>
          <a:p>
            <a:pPr algn="ctr"/>
            <a:r>
              <a:rPr lang="it-IT" dirty="0">
                <a:solidFill>
                  <a:schemeClr val="bg1"/>
                </a:solidFill>
              </a:rPr>
              <a:t>2,5 mln</a:t>
            </a:r>
          </a:p>
        </p:txBody>
      </p:sp>
    </p:spTree>
    <p:extLst>
      <p:ext uri="{BB962C8B-B14F-4D97-AF65-F5344CB8AC3E}">
        <p14:creationId xmlns:p14="http://schemas.microsoft.com/office/powerpoint/2010/main" val="1033536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9217C0-5BDE-C059-751B-C02DEC4224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uppo 79">
            <a:extLst>
              <a:ext uri="{FF2B5EF4-FFF2-40B4-BE49-F238E27FC236}">
                <a16:creationId xmlns:a16="http://schemas.microsoft.com/office/drawing/2014/main" id="{F350C858-AD99-286A-9C19-D65AE1B7EC17}"/>
              </a:ext>
            </a:extLst>
          </p:cNvPr>
          <p:cNvGrpSpPr/>
          <p:nvPr/>
        </p:nvGrpSpPr>
        <p:grpSpPr>
          <a:xfrm>
            <a:off x="0" y="5969746"/>
            <a:ext cx="12192000" cy="900641"/>
            <a:chOff x="0" y="8954619"/>
            <a:chExt cx="18288000" cy="1350961"/>
          </a:xfrm>
        </p:grpSpPr>
        <p:sp>
          <p:nvSpPr>
            <p:cNvPr id="20" name="AutoShape 2">
              <a:extLst>
                <a:ext uri="{FF2B5EF4-FFF2-40B4-BE49-F238E27FC236}">
                  <a16:creationId xmlns:a16="http://schemas.microsoft.com/office/drawing/2014/main" id="{6322DAB0-43D6-4258-38F2-EB6633850FCC}"/>
                </a:ext>
              </a:extLst>
            </p:cNvPr>
            <p:cNvSpPr/>
            <p:nvPr/>
          </p:nvSpPr>
          <p:spPr>
            <a:xfrm>
              <a:off x="0" y="8954619"/>
              <a:ext cx="18288000" cy="1350961"/>
            </a:xfrm>
            <a:prstGeom prst="rect">
              <a:avLst/>
            </a:prstGeom>
            <a:solidFill>
              <a:srgbClr val="0066CC"/>
            </a:solidFill>
          </p:spPr>
          <p:txBody>
            <a:bodyPr/>
            <a:lstStyle/>
            <a:p>
              <a:endParaRPr lang="it-IT" sz="1200" dirty="0"/>
            </a:p>
          </p:txBody>
        </p:sp>
        <p:sp>
          <p:nvSpPr>
            <p:cNvPr id="21" name="Freeform 3">
              <a:extLst>
                <a:ext uri="{FF2B5EF4-FFF2-40B4-BE49-F238E27FC236}">
                  <a16:creationId xmlns:a16="http://schemas.microsoft.com/office/drawing/2014/main" id="{3D12189D-3368-FCD0-D07F-195FED16E558}"/>
                </a:ext>
              </a:extLst>
            </p:cNvPr>
            <p:cNvSpPr/>
            <p:nvPr/>
          </p:nvSpPr>
          <p:spPr>
            <a:xfrm>
              <a:off x="1395421" y="9105860"/>
              <a:ext cx="3773510" cy="1058526"/>
            </a:xfrm>
            <a:custGeom>
              <a:avLst/>
              <a:gdLst/>
              <a:ahLst/>
              <a:cxnLst/>
              <a:rect l="l" t="t" r="r" b="b"/>
              <a:pathLst>
                <a:path w="3773510" h="1058526">
                  <a:moveTo>
                    <a:pt x="0" y="0"/>
                  </a:moveTo>
                  <a:lnTo>
                    <a:pt x="3773510" y="0"/>
                  </a:lnTo>
                  <a:lnTo>
                    <a:pt x="3773510" y="1058526"/>
                  </a:lnTo>
                  <a:lnTo>
                    <a:pt x="0" y="1058526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/>
              </a:stretch>
            </a:blipFill>
          </p:spPr>
          <p:txBody>
            <a:bodyPr/>
            <a:lstStyle/>
            <a:p>
              <a:endParaRPr lang="it-IT" sz="1200"/>
            </a:p>
          </p:txBody>
        </p:sp>
        <p:sp>
          <p:nvSpPr>
            <p:cNvPr id="22" name="TextBox 5">
              <a:extLst>
                <a:ext uri="{FF2B5EF4-FFF2-40B4-BE49-F238E27FC236}">
                  <a16:creationId xmlns:a16="http://schemas.microsoft.com/office/drawing/2014/main" id="{42A3D863-B50D-5560-6EF3-C63ABC87ADBC}"/>
                </a:ext>
              </a:extLst>
            </p:cNvPr>
            <p:cNvSpPr txBox="1"/>
            <p:nvPr/>
          </p:nvSpPr>
          <p:spPr>
            <a:xfrm>
              <a:off x="7946393" y="9285034"/>
              <a:ext cx="9720788" cy="3349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1710"/>
                </a:lnSpc>
              </a:pPr>
              <a:endParaRPr lang="en-US" sz="1555" dirty="0">
                <a:solidFill>
                  <a:srgbClr val="FFFFFF"/>
                </a:solidFill>
                <a:latin typeface="Titillium Web Bold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E59C85D-A88D-1153-396A-435B92ABF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48" y="332613"/>
            <a:ext cx="11436502" cy="36933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>
            <a:spAutoFit/>
          </a:bodyPr>
          <a:lstStyle/>
          <a:p>
            <a:pPr algn="l" rtl="0"/>
            <a:r>
              <a:rPr lang="it-IT" sz="2400" dirty="0">
                <a:latin typeface="Titillium Web" pitchFamily="2" charset="77"/>
              </a:rPr>
              <a:t>Transizione 5.0 – Misura del beneficio (3/3)</a:t>
            </a:r>
          </a:p>
        </p:txBody>
      </p:sp>
      <p:sp>
        <p:nvSpPr>
          <p:cNvPr id="7" name="object 41">
            <a:extLst>
              <a:ext uri="{FF2B5EF4-FFF2-40B4-BE49-F238E27FC236}">
                <a16:creationId xmlns:a16="http://schemas.microsoft.com/office/drawing/2014/main" id="{B36E38D0-1785-D819-E568-AD7E8632340E}"/>
              </a:ext>
            </a:extLst>
          </p:cNvPr>
          <p:cNvSpPr/>
          <p:nvPr/>
        </p:nvSpPr>
        <p:spPr>
          <a:xfrm>
            <a:off x="228600" y="812290"/>
            <a:ext cx="9156700" cy="0"/>
          </a:xfrm>
          <a:custGeom>
            <a:avLst/>
            <a:gdLst/>
            <a:ahLst/>
            <a:cxnLst/>
            <a:rect l="l" t="t" r="r" b="b"/>
            <a:pathLst>
              <a:path w="9156700">
                <a:moveTo>
                  <a:pt x="0" y="0"/>
                </a:moveTo>
                <a:lnTo>
                  <a:pt x="9156573" y="0"/>
                </a:lnTo>
              </a:path>
            </a:pathLst>
          </a:custGeom>
          <a:ln w="12192">
            <a:solidFill>
              <a:srgbClr val="4471C4"/>
            </a:solidFill>
          </a:ln>
        </p:spPr>
        <p:txBody>
          <a:bodyPr wrap="square" lIns="0" tIns="0" rIns="0" bIns="0" rtlCol="0"/>
          <a:lstStyle/>
          <a:p>
            <a:endParaRPr>
              <a:latin typeface="Titillium Web" pitchFamily="2" charset="77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4">
            <p14:nvContentPartPr>
              <p14:cNvPr id="16" name="Input penna 15">
                <a:extLst>
                  <a:ext uri="{FF2B5EF4-FFF2-40B4-BE49-F238E27FC236}">
                    <a16:creationId xmlns:a16="http://schemas.microsoft.com/office/drawing/2014/main" id="{713042D2-60BD-6715-637D-68477D30F6E7}"/>
                  </a:ext>
                </a:extLst>
              </p14:cNvPr>
              <p14:cNvContentPartPr/>
              <p14:nvPr/>
            </p14:nvContentPartPr>
            <p14:xfrm>
              <a:off x="5997565" y="2231756"/>
              <a:ext cx="360" cy="360"/>
            </p14:xfrm>
          </p:contentPart>
        </mc:Choice>
        <mc:Fallback xmlns="">
          <p:pic>
            <p:nvPicPr>
              <p:cNvPr id="16" name="Input penna 15">
                <a:extLst>
                  <a:ext uri="{FF2B5EF4-FFF2-40B4-BE49-F238E27FC236}">
                    <a16:creationId xmlns:a16="http://schemas.microsoft.com/office/drawing/2014/main" id="{713042D2-60BD-6715-637D-68477D30F6E7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988565" y="2222756"/>
                <a:ext cx="18000" cy="18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3E4860B0-2FFF-B666-A4E5-EEAE46B6C3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6848514"/>
              </p:ext>
            </p:extLst>
          </p:nvPr>
        </p:nvGraphicFramePr>
        <p:xfrm>
          <a:off x="3873639" y="1032568"/>
          <a:ext cx="7904481" cy="4920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938C605A-1D03-94E4-54AE-D7BE2F1EE0DA}"/>
              </a:ext>
            </a:extLst>
          </p:cNvPr>
          <p:cNvSpPr/>
          <p:nvPr/>
        </p:nvSpPr>
        <p:spPr>
          <a:xfrm>
            <a:off x="930281" y="2231756"/>
            <a:ext cx="2387600" cy="1371597"/>
          </a:xfrm>
          <a:prstGeom prst="roundRect">
            <a:avLst/>
          </a:prstGeom>
          <a:solidFill>
            <a:srgbClr val="0066CC"/>
          </a:solidFill>
          <a:ln>
            <a:solidFill>
              <a:srgbClr val="00B0F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bg1"/>
                </a:solidFill>
              </a:rPr>
              <a:t>Investimento</a:t>
            </a:r>
            <a:r>
              <a:rPr lang="it-IT" dirty="0">
                <a:solidFill>
                  <a:srgbClr val="0066CC"/>
                </a:solidFill>
              </a:rPr>
              <a:t> </a:t>
            </a:r>
          </a:p>
          <a:p>
            <a:pPr algn="ctr"/>
            <a:r>
              <a:rPr lang="it-IT" dirty="0">
                <a:solidFill>
                  <a:schemeClr val="bg1"/>
                </a:solidFill>
              </a:rPr>
              <a:t>50 mln</a:t>
            </a:r>
          </a:p>
        </p:txBody>
      </p:sp>
    </p:spTree>
    <p:extLst>
      <p:ext uri="{BB962C8B-B14F-4D97-AF65-F5344CB8AC3E}">
        <p14:creationId xmlns:p14="http://schemas.microsoft.com/office/powerpoint/2010/main" val="4131969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ircle_with_icon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stainable-energy_POWER_USER_SEPARATOR_ICONS_electricity_POWER_USER_SEPARATOR_ICONS_energy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ustainable-energy_POWER_USER_SEPARATOR_ICONS_electricity_POWER_USER_SEPARATOR_ICONS_energy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5</TotalTime>
  <Words>513</Words>
  <Application>Microsoft Office PowerPoint</Application>
  <PresentationFormat>Widescreen</PresentationFormat>
  <Paragraphs>181</Paragraphs>
  <Slides>11</Slides>
  <Notes>1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20" baseType="lpstr">
      <vt:lpstr>Calibri</vt:lpstr>
      <vt:lpstr>Lucida Sans Unicode</vt:lpstr>
      <vt:lpstr>Segoe UI</vt:lpstr>
      <vt:lpstr>Titillium Web</vt:lpstr>
      <vt:lpstr>Titillium Web Bold</vt:lpstr>
      <vt:lpstr>Trebuchet MS</vt:lpstr>
      <vt:lpstr>Verdana</vt:lpstr>
      <vt:lpstr>Office Theme</vt:lpstr>
      <vt:lpstr>think-cell Slide</vt:lpstr>
      <vt:lpstr>Presentazione standard di PowerPoint</vt:lpstr>
      <vt:lpstr> Transizione digital&amp;green delle imprese – Risorse 2024-2025</vt:lpstr>
      <vt:lpstr>Transizione 5.0 – Caratteristiche dell’agevolazione</vt:lpstr>
      <vt:lpstr>Transizione digital&amp;green delle imprese – Orizzonte temporale </vt:lpstr>
      <vt:lpstr>Transizione 5.0 – Progetto di innovazione</vt:lpstr>
      <vt:lpstr>Transizione 5.0 – Base di calcolo del credito</vt:lpstr>
      <vt:lpstr>Transizione 5.0 – Misura del beneficio (1/3)</vt:lpstr>
      <vt:lpstr>Transizione 5.0 – Misura del beneficio (2/3)</vt:lpstr>
      <vt:lpstr>Transizione 5.0 – Misura del beneficio (3/3)</vt:lpstr>
      <vt:lpstr>Transizione 5.0 – Oneri documentali e procedura</vt:lpstr>
      <vt:lpstr>Transizione 5.0 – Soggetti coinvolti nella procedur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ssandro Moroni</dc:creator>
  <cp:lastModifiedBy>Marco Calabrò</cp:lastModifiedBy>
  <cp:revision>878</cp:revision>
  <cp:lastPrinted>2024-01-31T13:07:42Z</cp:lastPrinted>
  <dcterms:created xsi:type="dcterms:W3CDTF">2023-02-10T10:00:14Z</dcterms:created>
  <dcterms:modified xsi:type="dcterms:W3CDTF">2024-07-01T07:5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2-02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3-02-10T00:00:00Z</vt:filetime>
  </property>
</Properties>
</file>